
<file path=[Content_Types].xml><?xml version="1.0" encoding="utf-8"?>
<Types xmlns="http://schemas.openxmlformats.org/package/2006/content-types">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648" r:id="rId1"/>
  </p:sldMasterIdLst>
  <p:notesMasterIdLst>
    <p:notesMasterId r:id="rId7"/>
  </p:notesMasterIdLst>
  <p:sldIdLst>
    <p:sldId id="792" r:id="rId2"/>
    <p:sldId id="735" r:id="rId3"/>
    <p:sldId id="809" r:id="rId4"/>
    <p:sldId id="810" r:id="rId5"/>
    <p:sldId id="812" r:id="rId6"/>
  </p:sldIdLst>
  <p:sldSz cx="12192000" cy="6858000"/>
  <p:notesSz cx="6858000" cy="9144000"/>
  <p:embeddedFontLst>
    <p:embeddedFont>
      <p:font typeface="Arial Narrow" panose="020B0606020202030204" pitchFamily="34" charset="0"/>
      <p:regular r:id="rId8"/>
      <p:bold r:id="rId9"/>
      <p:italic r:id="rId10"/>
      <p:boldItalic r:id="rId11"/>
    </p:embeddedFont>
    <p:embeddedFont>
      <p:font typeface="Calibri" panose="020F0502020204030204" pitchFamily="34" charset="0"/>
      <p:regular r:id="rId12"/>
      <p:bold r:id="rId13"/>
      <p:italic r:id="rId14"/>
      <p:boldItalic r:id="rId15"/>
    </p:embeddedFont>
    <p:embeddedFont>
      <p:font typeface="Calibri Light" panose="020F0302020204030204" pitchFamily="34" charset="0"/>
      <p:regular r:id="rId16"/>
      <p:italic r:id="rId17"/>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ozza magdy" initials="pm" lastIdx="1" clrIdx="0">
    <p:extLst>
      <p:ext uri="{19B8F6BF-5375-455C-9EA6-DF929625EA0E}">
        <p15:presenceInfo xmlns:p15="http://schemas.microsoft.com/office/powerpoint/2012/main" userId="ac1ce3788096011b" providerId="Windows Live"/>
      </p:ext>
    </p:extLst>
  </p:cmAuthor>
  <p:cmAuthor id="2" name="momen elshamy" initials="me" lastIdx="5" clrIdx="1">
    <p:extLst>
      <p:ext uri="{19B8F6BF-5375-455C-9EA6-DF929625EA0E}">
        <p15:presenceInfo xmlns:p15="http://schemas.microsoft.com/office/powerpoint/2012/main" userId="ad31ee44aa240ec3"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2D4E3"/>
    <a:srgbClr val="0E5961"/>
    <a:srgbClr val="DFDFDF"/>
    <a:srgbClr val="F5F5F5"/>
    <a:srgbClr val="FFFFFF"/>
    <a:srgbClr val="131F27"/>
    <a:srgbClr val="122A2C"/>
    <a:srgbClr val="173535"/>
    <a:srgbClr val="1B1E20"/>
    <a:srgbClr val="040E1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204" autoAdjust="0"/>
    <p:restoredTop sz="86420"/>
  </p:normalViewPr>
  <p:slideViewPr>
    <p:cSldViewPr snapToGrid="0" snapToObjects="1">
      <p:cViewPr varScale="1">
        <p:scale>
          <a:sx n="86" d="100"/>
          <a:sy n="86" d="100"/>
        </p:scale>
        <p:origin x="552" y="53"/>
      </p:cViewPr>
      <p:guideLst/>
    </p:cSldViewPr>
  </p:slideViewPr>
  <p:outlineViewPr>
    <p:cViewPr>
      <p:scale>
        <a:sx n="33" d="100"/>
        <a:sy n="33" d="100"/>
      </p:scale>
      <p:origin x="0" y="-1264"/>
    </p:cViewPr>
  </p:outlineViewPr>
  <p:notesTextViewPr>
    <p:cViewPr>
      <p:scale>
        <a:sx n="1" d="1"/>
        <a:sy n="1" d="1"/>
      </p:scale>
      <p:origin x="0" y="0"/>
    </p:cViewPr>
  </p:notesTextViewPr>
  <p:sorterViewPr>
    <p:cViewPr>
      <p:scale>
        <a:sx n="90" d="100"/>
        <a:sy n="9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1.fntdata"/><Relationship Id="rId13" Type="http://schemas.openxmlformats.org/officeDocument/2006/relationships/font" Target="fonts/font6.fntdata"/><Relationship Id="rId18"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notesMaster" Target="notesMasters/notesMaster1.xml"/><Relationship Id="rId12" Type="http://schemas.openxmlformats.org/officeDocument/2006/relationships/font" Target="fonts/font5.fntdata"/><Relationship Id="rId17" Type="http://schemas.openxmlformats.org/officeDocument/2006/relationships/font" Target="fonts/font10.fntdata"/><Relationship Id="rId2" Type="http://schemas.openxmlformats.org/officeDocument/2006/relationships/slide" Target="slides/slide1.xml"/><Relationship Id="rId16" Type="http://schemas.openxmlformats.org/officeDocument/2006/relationships/font" Target="fonts/font9.fntdata"/><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font" Target="fonts/font4.fntdata"/><Relationship Id="rId5" Type="http://schemas.openxmlformats.org/officeDocument/2006/relationships/slide" Target="slides/slide4.xml"/><Relationship Id="rId15" Type="http://schemas.openxmlformats.org/officeDocument/2006/relationships/font" Target="fonts/font8.fntdata"/><Relationship Id="rId10" Type="http://schemas.openxmlformats.org/officeDocument/2006/relationships/font" Target="fonts/font3.fntdata"/><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font" Target="fonts/font2.fntdata"/><Relationship Id="rId14" Type="http://schemas.openxmlformats.org/officeDocument/2006/relationships/font" Target="fonts/font7.fntdata"/><Relationship Id="rId22"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27E95ED-00FE-AF46-85DE-8E5B7C8DA4EB}" type="datetimeFigureOut">
              <a:rPr lang="en-US" smtClean="0"/>
              <a:t>4/15/20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67B16A9-594D-E044-BF05-932AC9E1994C}" type="slidenum">
              <a:rPr lang="en-US" smtClean="0"/>
              <a:t>‹#›</a:t>
            </a:fld>
            <a:endParaRPr lang="en-US" dirty="0"/>
          </a:p>
        </p:txBody>
      </p:sp>
    </p:spTree>
    <p:extLst>
      <p:ext uri="{BB962C8B-B14F-4D97-AF65-F5344CB8AC3E}">
        <p14:creationId xmlns:p14="http://schemas.microsoft.com/office/powerpoint/2010/main" val="10807643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61EFD5B-F522-3B4E-A892-3A347DF3C668}"/>
              </a:ext>
            </a:extLst>
          </p:cNvPr>
          <p:cNvSpPr>
            <a:spLocks noGrp="1"/>
          </p:cNvSpPr>
          <p:nvPr>
            <p:ph type="dt" sz="half" idx="10"/>
          </p:nvPr>
        </p:nvSpPr>
        <p:spPr/>
        <p:txBody>
          <a:bodyPr/>
          <a:lstStyle/>
          <a:p>
            <a:fld id="{6A0C4EFF-7BB9-A045-B777-5D40845EB54B}" type="datetimeFigureOut">
              <a:rPr lang="en-US" smtClean="0"/>
              <a:t>4/15/2020</a:t>
            </a:fld>
            <a:endParaRPr lang="en-US" dirty="0"/>
          </a:p>
        </p:txBody>
      </p:sp>
      <p:sp>
        <p:nvSpPr>
          <p:cNvPr id="3" name="Footer Placeholder 2">
            <a:extLst>
              <a:ext uri="{FF2B5EF4-FFF2-40B4-BE49-F238E27FC236}">
                <a16:creationId xmlns:a16="http://schemas.microsoft.com/office/drawing/2014/main" id="{D6246884-EF8F-EA40-A95D-4017593DA2F8}"/>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C6A7786D-B23B-8C48-B150-172798EDA2AA}"/>
              </a:ext>
            </a:extLst>
          </p:cNvPr>
          <p:cNvSpPr>
            <a:spLocks noGrp="1"/>
          </p:cNvSpPr>
          <p:nvPr>
            <p:ph type="sldNum" sz="quarter" idx="12"/>
          </p:nvPr>
        </p:nvSpPr>
        <p:spPr/>
        <p:txBody>
          <a:bodyPr/>
          <a:lstStyle/>
          <a:p>
            <a:fld id="{3BA69586-E6B3-B646-96E5-E7A8350A3CCE}" type="slidenum">
              <a:rPr lang="en-US" smtClean="0"/>
              <a:t>‹#›</a:t>
            </a:fld>
            <a:endParaRPr lang="en-US" dirty="0"/>
          </a:p>
        </p:txBody>
      </p:sp>
    </p:spTree>
    <p:extLst>
      <p:ext uri="{BB962C8B-B14F-4D97-AF65-F5344CB8AC3E}">
        <p14:creationId xmlns:p14="http://schemas.microsoft.com/office/powerpoint/2010/main" val="34080070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4_Custom Layou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AD6BA4E-A8A8-1E44-9C22-220BF12EFED0}"/>
              </a:ext>
            </a:extLst>
          </p:cNvPr>
          <p:cNvSpPr>
            <a:spLocks noGrp="1"/>
          </p:cNvSpPr>
          <p:nvPr>
            <p:ph type="pic" sz="quarter" idx="13"/>
          </p:nvPr>
        </p:nvSpPr>
        <p:spPr>
          <a:xfrm>
            <a:off x="6246289" y="-9728"/>
            <a:ext cx="5945712" cy="5554495"/>
          </a:xfrm>
          <a:custGeom>
            <a:avLst/>
            <a:gdLst>
              <a:gd name="connsiteX0" fmla="*/ 2294196 w 5945712"/>
              <a:gd name="connsiteY0" fmla="*/ 1 h 5554495"/>
              <a:gd name="connsiteX1" fmla="*/ 2874680 w 5945712"/>
              <a:gd name="connsiteY1" fmla="*/ 1 h 5554495"/>
              <a:gd name="connsiteX2" fmla="*/ 2846505 w 5945712"/>
              <a:gd name="connsiteY2" fmla="*/ 368945 h 5554495"/>
              <a:gd name="connsiteX3" fmla="*/ 5168731 w 5945712"/>
              <a:gd name="connsiteY3" fmla="*/ 2733673 h 5554495"/>
              <a:gd name="connsiteX4" fmla="*/ 5945711 w 5945712"/>
              <a:gd name="connsiteY4" fmla="*/ 2598006 h 5554495"/>
              <a:gd name="connsiteX5" fmla="*/ 5945711 w 5945712"/>
              <a:gd name="connsiteY5" fmla="*/ 2901121 h 5554495"/>
              <a:gd name="connsiteX6" fmla="*/ 4227642 w 5945712"/>
              <a:gd name="connsiteY6" fmla="*/ 3674916 h 5554495"/>
              <a:gd name="connsiteX7" fmla="*/ 1905415 w 5945712"/>
              <a:gd name="connsiteY7" fmla="*/ 1310188 h 5554495"/>
              <a:gd name="connsiteX8" fmla="*/ 2294196 w 5945712"/>
              <a:gd name="connsiteY8" fmla="*/ 1 h 5554495"/>
              <a:gd name="connsiteX9" fmla="*/ 857815 w 5945712"/>
              <a:gd name="connsiteY9" fmla="*/ 1 h 5554495"/>
              <a:gd name="connsiteX10" fmla="*/ 1485557 w 5945712"/>
              <a:gd name="connsiteY10" fmla="*/ 1 h 5554495"/>
              <a:gd name="connsiteX11" fmla="*/ 1370970 w 5945712"/>
              <a:gd name="connsiteY11" fmla="*/ 878785 h 5554495"/>
              <a:gd name="connsiteX12" fmla="*/ 4576194 w 5945712"/>
              <a:gd name="connsiteY12" fmla="*/ 4183302 h 5554495"/>
              <a:gd name="connsiteX13" fmla="*/ 5945712 w 5945712"/>
              <a:gd name="connsiteY13" fmla="*/ 3867259 h 5554495"/>
              <a:gd name="connsiteX14" fmla="*/ 5945712 w 5945712"/>
              <a:gd name="connsiteY14" fmla="*/ 3964608 h 5554495"/>
              <a:gd name="connsiteX15" fmla="*/ 3205224 w 5945712"/>
              <a:gd name="connsiteY15" fmla="*/ 5554495 h 5554495"/>
              <a:gd name="connsiteX16" fmla="*/ 0 w 5945712"/>
              <a:gd name="connsiteY16" fmla="*/ 2249978 h 5554495"/>
              <a:gd name="connsiteX17" fmla="*/ 857815 w 5945712"/>
              <a:gd name="connsiteY17" fmla="*/ 1 h 5554495"/>
              <a:gd name="connsiteX18" fmla="*/ 3522375 w 5945712"/>
              <a:gd name="connsiteY18" fmla="*/ 0 h 5554495"/>
              <a:gd name="connsiteX19" fmla="*/ 5125344 w 5945712"/>
              <a:gd name="connsiteY19" fmla="*/ 0 h 5554495"/>
              <a:gd name="connsiteX20" fmla="*/ 5836236 w 5945712"/>
              <a:gd name="connsiteY20" fmla="*/ 0 h 5554495"/>
              <a:gd name="connsiteX21" fmla="*/ 5945710 w 5945712"/>
              <a:gd name="connsiteY21" fmla="*/ 0 h 5554495"/>
              <a:gd name="connsiteX22" fmla="*/ 5945710 w 5945712"/>
              <a:gd name="connsiteY22" fmla="*/ 224155 h 5554495"/>
              <a:gd name="connsiteX23" fmla="*/ 5945710 w 5945712"/>
              <a:gd name="connsiteY23" fmla="*/ 719847 h 5554495"/>
              <a:gd name="connsiteX24" fmla="*/ 5945710 w 5945712"/>
              <a:gd name="connsiteY24" fmla="*/ 1181900 h 5554495"/>
              <a:gd name="connsiteX25" fmla="*/ 4679305 w 5945712"/>
              <a:gd name="connsiteY25" fmla="*/ 2056790 h 5554495"/>
              <a:gd name="connsiteX26" fmla="*/ 3325763 w 5945712"/>
              <a:gd name="connsiteY26" fmla="*/ 703027 h 5554495"/>
              <a:gd name="connsiteX27" fmla="*/ 3522375 w 5945712"/>
              <a:gd name="connsiteY27" fmla="*/ 0 h 555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45712" h="5554495">
                <a:moveTo>
                  <a:pt x="2294196" y="1"/>
                </a:moveTo>
                <a:lnTo>
                  <a:pt x="2874680" y="1"/>
                </a:lnTo>
                <a:cubicBezTo>
                  <a:pt x="2855902" y="122084"/>
                  <a:pt x="2846483" y="245425"/>
                  <a:pt x="2846505" y="368945"/>
                </a:cubicBezTo>
                <a:cubicBezTo>
                  <a:pt x="2846505" y="1674949"/>
                  <a:pt x="3886352" y="2733673"/>
                  <a:pt x="5168731" y="2733673"/>
                </a:cubicBezTo>
                <a:cubicBezTo>
                  <a:pt x="5433636" y="2733918"/>
                  <a:pt x="5696559" y="2688010"/>
                  <a:pt x="5945711" y="2598006"/>
                </a:cubicBezTo>
                <a:lnTo>
                  <a:pt x="5945711" y="2901121"/>
                </a:lnTo>
                <a:cubicBezTo>
                  <a:pt x="5520943" y="3376507"/>
                  <a:pt x="4908538" y="3674916"/>
                  <a:pt x="4227642" y="3674916"/>
                </a:cubicBezTo>
                <a:cubicBezTo>
                  <a:pt x="2945261" y="3674916"/>
                  <a:pt x="1905415" y="2616192"/>
                  <a:pt x="1905415" y="1310188"/>
                </a:cubicBezTo>
                <a:cubicBezTo>
                  <a:pt x="1905415" y="825593"/>
                  <a:pt x="2048583" y="375045"/>
                  <a:pt x="2294196" y="1"/>
                </a:cubicBezTo>
                <a:close/>
                <a:moveTo>
                  <a:pt x="857815" y="1"/>
                </a:moveTo>
                <a:lnTo>
                  <a:pt x="1485557" y="1"/>
                </a:lnTo>
                <a:cubicBezTo>
                  <a:pt x="1409236" y="286683"/>
                  <a:pt x="1370714" y="582114"/>
                  <a:pt x="1370970" y="878785"/>
                </a:cubicBezTo>
                <a:cubicBezTo>
                  <a:pt x="1370970" y="2703808"/>
                  <a:pt x="2805986" y="4183302"/>
                  <a:pt x="4576194" y="4183302"/>
                </a:cubicBezTo>
                <a:cubicBezTo>
                  <a:pt x="5050819" y="4183742"/>
                  <a:pt x="5519261" y="4075639"/>
                  <a:pt x="5945712" y="3867259"/>
                </a:cubicBezTo>
                <a:lnTo>
                  <a:pt x="5945712" y="3964608"/>
                </a:lnTo>
                <a:cubicBezTo>
                  <a:pt x="5383411" y="4917820"/>
                  <a:pt x="4366424" y="5554495"/>
                  <a:pt x="3205224" y="5554495"/>
                </a:cubicBezTo>
                <a:cubicBezTo>
                  <a:pt x="1435017" y="5554495"/>
                  <a:pt x="0" y="4075001"/>
                  <a:pt x="0" y="2249978"/>
                </a:cubicBezTo>
                <a:cubicBezTo>
                  <a:pt x="0" y="1380752"/>
                  <a:pt x="325577" y="589933"/>
                  <a:pt x="857815" y="1"/>
                </a:cubicBezTo>
                <a:close/>
                <a:moveTo>
                  <a:pt x="3522375" y="0"/>
                </a:moveTo>
                <a:lnTo>
                  <a:pt x="5125344" y="0"/>
                </a:lnTo>
                <a:lnTo>
                  <a:pt x="5836236" y="0"/>
                </a:lnTo>
                <a:lnTo>
                  <a:pt x="5945710" y="0"/>
                </a:lnTo>
                <a:lnTo>
                  <a:pt x="5945710" y="224155"/>
                </a:lnTo>
                <a:lnTo>
                  <a:pt x="5945710" y="719847"/>
                </a:lnTo>
                <a:lnTo>
                  <a:pt x="5945710" y="1181900"/>
                </a:lnTo>
                <a:cubicBezTo>
                  <a:pt x="5752322" y="1693221"/>
                  <a:pt x="5258250" y="2056790"/>
                  <a:pt x="4679305" y="2056790"/>
                </a:cubicBezTo>
                <a:cubicBezTo>
                  <a:pt x="3931778" y="2056790"/>
                  <a:pt x="3325763" y="1450677"/>
                  <a:pt x="3325763" y="703027"/>
                </a:cubicBezTo>
                <a:cubicBezTo>
                  <a:pt x="3325370" y="455054"/>
                  <a:pt x="3393405" y="211782"/>
                  <a:pt x="3522375" y="0"/>
                </a:cubicBezTo>
                <a:close/>
              </a:path>
            </a:pathLst>
          </a:custGeom>
          <a:blipFill>
            <a:blip r:embed="rId2"/>
            <a:stretch>
              <a:fillRect/>
            </a:stretch>
          </a:blipFill>
          <a:effectLst>
            <a:outerShdw blurRad="38100" dist="25400" dir="18900000" algn="bl" rotWithShape="0">
              <a:prstClr val="black">
                <a:alpha val="15000"/>
              </a:prstClr>
            </a:outerShdw>
          </a:effectLst>
        </p:spPr>
        <p:txBody>
          <a:bodyPr wrap="square">
            <a:noAutofit/>
          </a:bodyPr>
          <a:lstStyle>
            <a:lvl1pPr marL="0" indent="0">
              <a:buNone/>
              <a:defRPr sz="1400"/>
            </a:lvl1pPr>
          </a:lstStyle>
          <a:p>
            <a:endParaRPr lang="en-US"/>
          </a:p>
        </p:txBody>
      </p:sp>
      <p:sp>
        <p:nvSpPr>
          <p:cNvPr id="3" name="Date Placeholder 2">
            <a:extLst>
              <a:ext uri="{FF2B5EF4-FFF2-40B4-BE49-F238E27FC236}">
                <a16:creationId xmlns:a16="http://schemas.microsoft.com/office/drawing/2014/main" id="{8374832B-254B-5942-9642-C5F34DCDDF4F}"/>
              </a:ext>
            </a:extLst>
          </p:cNvPr>
          <p:cNvSpPr>
            <a:spLocks noGrp="1"/>
          </p:cNvSpPr>
          <p:nvPr>
            <p:ph type="dt" sz="half" idx="10"/>
          </p:nvPr>
        </p:nvSpPr>
        <p:spPr/>
        <p:txBody>
          <a:bodyPr/>
          <a:lstStyle/>
          <a:p>
            <a:fld id="{6A0C4EFF-7BB9-A045-B777-5D40845EB54B}" type="datetimeFigureOut">
              <a:rPr lang="en-US" smtClean="0"/>
              <a:t>4/15/2020</a:t>
            </a:fld>
            <a:endParaRPr lang="en-US" dirty="0"/>
          </a:p>
        </p:txBody>
      </p:sp>
      <p:sp>
        <p:nvSpPr>
          <p:cNvPr id="4" name="Footer Placeholder 3">
            <a:extLst>
              <a:ext uri="{FF2B5EF4-FFF2-40B4-BE49-F238E27FC236}">
                <a16:creationId xmlns:a16="http://schemas.microsoft.com/office/drawing/2014/main" id="{5951EEC4-60E9-554B-9BE0-DC47912BA6EA}"/>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851AA39F-0A82-FC44-BCF4-9B038D011AD5}"/>
              </a:ext>
            </a:extLst>
          </p:cNvPr>
          <p:cNvSpPr>
            <a:spLocks noGrp="1"/>
          </p:cNvSpPr>
          <p:nvPr>
            <p:ph type="sldNum" sz="quarter" idx="12"/>
          </p:nvPr>
        </p:nvSpPr>
        <p:spPr/>
        <p:txBody>
          <a:bodyPr/>
          <a:lstStyle/>
          <a:p>
            <a:fld id="{3BA69586-E6B3-B646-96E5-E7A8350A3CCE}" type="slidenum">
              <a:rPr lang="en-US" smtClean="0"/>
              <a:pPr/>
              <a:t>‹#›</a:t>
            </a:fld>
            <a:endParaRPr lang="en-US" dirty="0"/>
          </a:p>
        </p:txBody>
      </p:sp>
    </p:spTree>
    <p:extLst>
      <p:ext uri="{BB962C8B-B14F-4D97-AF65-F5344CB8AC3E}">
        <p14:creationId xmlns:p14="http://schemas.microsoft.com/office/powerpoint/2010/main" val="30486619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E729A5E4-A73D-CA4B-9BC8-AEFB81327C4F}"/>
              </a:ext>
            </a:extLst>
          </p:cNvPr>
          <p:cNvSpPr>
            <a:spLocks noGrp="1"/>
          </p:cNvSpPr>
          <p:nvPr>
            <p:ph type="pic" sz="quarter" idx="13"/>
          </p:nvPr>
        </p:nvSpPr>
        <p:spPr>
          <a:xfrm>
            <a:off x="-729" y="-19456"/>
            <a:ext cx="5946438" cy="5554495"/>
          </a:xfrm>
          <a:custGeom>
            <a:avLst/>
            <a:gdLst>
              <a:gd name="connsiteX0" fmla="*/ 4460881 w 5946438"/>
              <a:gd name="connsiteY0" fmla="*/ 1 h 5554495"/>
              <a:gd name="connsiteX1" fmla="*/ 5088623 w 5946438"/>
              <a:gd name="connsiteY1" fmla="*/ 1 h 5554495"/>
              <a:gd name="connsiteX2" fmla="*/ 5946438 w 5946438"/>
              <a:gd name="connsiteY2" fmla="*/ 2249978 h 5554495"/>
              <a:gd name="connsiteX3" fmla="*/ 2741214 w 5946438"/>
              <a:gd name="connsiteY3" fmla="*/ 5554495 h 5554495"/>
              <a:gd name="connsiteX4" fmla="*/ 726 w 5946438"/>
              <a:gd name="connsiteY4" fmla="*/ 3964608 h 5554495"/>
              <a:gd name="connsiteX5" fmla="*/ 726 w 5946438"/>
              <a:gd name="connsiteY5" fmla="*/ 3867259 h 5554495"/>
              <a:gd name="connsiteX6" fmla="*/ 1370244 w 5946438"/>
              <a:gd name="connsiteY6" fmla="*/ 4183302 h 5554495"/>
              <a:gd name="connsiteX7" fmla="*/ 4575468 w 5946438"/>
              <a:gd name="connsiteY7" fmla="*/ 878785 h 5554495"/>
              <a:gd name="connsiteX8" fmla="*/ 4460881 w 5946438"/>
              <a:gd name="connsiteY8" fmla="*/ 1 h 5554495"/>
              <a:gd name="connsiteX9" fmla="*/ 3071758 w 5946438"/>
              <a:gd name="connsiteY9" fmla="*/ 1 h 5554495"/>
              <a:gd name="connsiteX10" fmla="*/ 3652242 w 5946438"/>
              <a:gd name="connsiteY10" fmla="*/ 1 h 5554495"/>
              <a:gd name="connsiteX11" fmla="*/ 4041023 w 5946438"/>
              <a:gd name="connsiteY11" fmla="*/ 1310188 h 5554495"/>
              <a:gd name="connsiteX12" fmla="*/ 1718797 w 5946438"/>
              <a:gd name="connsiteY12" fmla="*/ 3674916 h 5554495"/>
              <a:gd name="connsiteX13" fmla="*/ 727 w 5946438"/>
              <a:gd name="connsiteY13" fmla="*/ 2901121 h 5554495"/>
              <a:gd name="connsiteX14" fmla="*/ 727 w 5946438"/>
              <a:gd name="connsiteY14" fmla="*/ 2598006 h 5554495"/>
              <a:gd name="connsiteX15" fmla="*/ 777707 w 5946438"/>
              <a:gd name="connsiteY15" fmla="*/ 2733673 h 5554495"/>
              <a:gd name="connsiteX16" fmla="*/ 3099933 w 5946438"/>
              <a:gd name="connsiteY16" fmla="*/ 368945 h 5554495"/>
              <a:gd name="connsiteX17" fmla="*/ 3071758 w 5946438"/>
              <a:gd name="connsiteY17" fmla="*/ 1 h 5554495"/>
              <a:gd name="connsiteX18" fmla="*/ 0 w 5946438"/>
              <a:gd name="connsiteY18" fmla="*/ 0 h 5554495"/>
              <a:gd name="connsiteX19" fmla="*/ 110202 w 5946438"/>
              <a:gd name="connsiteY19" fmla="*/ 0 h 5554495"/>
              <a:gd name="connsiteX20" fmla="*/ 820366 w 5946438"/>
              <a:gd name="connsiteY20" fmla="*/ 0 h 5554495"/>
              <a:gd name="connsiteX21" fmla="*/ 2424063 w 5946438"/>
              <a:gd name="connsiteY21" fmla="*/ 0 h 5554495"/>
              <a:gd name="connsiteX22" fmla="*/ 2620675 w 5946438"/>
              <a:gd name="connsiteY22" fmla="*/ 703027 h 5554495"/>
              <a:gd name="connsiteX23" fmla="*/ 1267133 w 5946438"/>
              <a:gd name="connsiteY23" fmla="*/ 2056790 h 5554495"/>
              <a:gd name="connsiteX24" fmla="*/ 728 w 5946438"/>
              <a:gd name="connsiteY24" fmla="*/ 1181900 h 5554495"/>
              <a:gd name="connsiteX25" fmla="*/ 728 w 5946438"/>
              <a:gd name="connsiteY25" fmla="*/ 719847 h 5554495"/>
              <a:gd name="connsiteX26" fmla="*/ 0 w 5946438"/>
              <a:gd name="connsiteY26" fmla="*/ 719847 h 555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946438" h="5554495">
                <a:moveTo>
                  <a:pt x="4460881" y="1"/>
                </a:moveTo>
                <a:lnTo>
                  <a:pt x="5088623" y="1"/>
                </a:lnTo>
                <a:cubicBezTo>
                  <a:pt x="5620861" y="589933"/>
                  <a:pt x="5946438" y="1380752"/>
                  <a:pt x="5946438" y="2249978"/>
                </a:cubicBezTo>
                <a:cubicBezTo>
                  <a:pt x="5946438" y="4075001"/>
                  <a:pt x="4511421" y="5554495"/>
                  <a:pt x="2741214" y="5554495"/>
                </a:cubicBezTo>
                <a:cubicBezTo>
                  <a:pt x="1580015" y="5554495"/>
                  <a:pt x="563027" y="4917820"/>
                  <a:pt x="726" y="3964608"/>
                </a:cubicBezTo>
                <a:lnTo>
                  <a:pt x="726" y="3867259"/>
                </a:lnTo>
                <a:cubicBezTo>
                  <a:pt x="427177" y="4075639"/>
                  <a:pt x="895619" y="4183742"/>
                  <a:pt x="1370244" y="4183302"/>
                </a:cubicBezTo>
                <a:cubicBezTo>
                  <a:pt x="3140451" y="4183302"/>
                  <a:pt x="4575468" y="2703808"/>
                  <a:pt x="4575468" y="878785"/>
                </a:cubicBezTo>
                <a:cubicBezTo>
                  <a:pt x="4575724" y="582114"/>
                  <a:pt x="4537202" y="286683"/>
                  <a:pt x="4460881" y="1"/>
                </a:cubicBezTo>
                <a:close/>
                <a:moveTo>
                  <a:pt x="3071758" y="1"/>
                </a:moveTo>
                <a:lnTo>
                  <a:pt x="3652242" y="1"/>
                </a:lnTo>
                <a:cubicBezTo>
                  <a:pt x="3897855" y="375045"/>
                  <a:pt x="4041023" y="825593"/>
                  <a:pt x="4041023" y="1310188"/>
                </a:cubicBezTo>
                <a:cubicBezTo>
                  <a:pt x="4041023" y="2616192"/>
                  <a:pt x="3001177" y="3674916"/>
                  <a:pt x="1718797" y="3674916"/>
                </a:cubicBezTo>
                <a:cubicBezTo>
                  <a:pt x="1037900" y="3674916"/>
                  <a:pt x="425495" y="3376507"/>
                  <a:pt x="727" y="2901121"/>
                </a:cubicBezTo>
                <a:lnTo>
                  <a:pt x="727" y="2598006"/>
                </a:lnTo>
                <a:cubicBezTo>
                  <a:pt x="249879" y="2688010"/>
                  <a:pt x="512802" y="2733918"/>
                  <a:pt x="777707" y="2733673"/>
                </a:cubicBezTo>
                <a:cubicBezTo>
                  <a:pt x="2060087" y="2733673"/>
                  <a:pt x="3099933" y="1674949"/>
                  <a:pt x="3099933" y="368945"/>
                </a:cubicBezTo>
                <a:cubicBezTo>
                  <a:pt x="3099955" y="245425"/>
                  <a:pt x="3090536" y="122084"/>
                  <a:pt x="3071758" y="1"/>
                </a:cubicBezTo>
                <a:close/>
                <a:moveTo>
                  <a:pt x="0" y="0"/>
                </a:moveTo>
                <a:lnTo>
                  <a:pt x="110202" y="0"/>
                </a:lnTo>
                <a:lnTo>
                  <a:pt x="820366" y="0"/>
                </a:lnTo>
                <a:lnTo>
                  <a:pt x="2424063" y="0"/>
                </a:lnTo>
                <a:cubicBezTo>
                  <a:pt x="2553033" y="211782"/>
                  <a:pt x="2621068" y="455054"/>
                  <a:pt x="2620675" y="703027"/>
                </a:cubicBezTo>
                <a:cubicBezTo>
                  <a:pt x="2620675" y="1450677"/>
                  <a:pt x="2014660" y="2056790"/>
                  <a:pt x="1267133" y="2056790"/>
                </a:cubicBezTo>
                <a:cubicBezTo>
                  <a:pt x="688188" y="2056790"/>
                  <a:pt x="194116" y="1693221"/>
                  <a:pt x="728" y="1181900"/>
                </a:cubicBezTo>
                <a:lnTo>
                  <a:pt x="728" y="719847"/>
                </a:lnTo>
                <a:lnTo>
                  <a:pt x="0" y="719847"/>
                </a:lnTo>
                <a:close/>
              </a:path>
            </a:pathLst>
          </a:custGeom>
          <a:blipFill>
            <a:blip r:embed="rId2"/>
            <a:stretch>
              <a:fillRect/>
            </a:stretch>
          </a:blipFill>
          <a:effectLst>
            <a:outerShdw blurRad="38100" dist="25400" dir="13500000" algn="br" rotWithShape="0">
              <a:prstClr val="black">
                <a:alpha val="15000"/>
              </a:prstClr>
            </a:outerShdw>
          </a:effectLst>
        </p:spPr>
        <p:txBody>
          <a:bodyPr wrap="square">
            <a:noAutofit/>
          </a:bodyPr>
          <a:lstStyle>
            <a:lvl1pPr marL="0" indent="0">
              <a:buNone/>
              <a:defRPr sz="1400"/>
            </a:lvl1pPr>
          </a:lstStyle>
          <a:p>
            <a:endParaRPr lang="en-US"/>
          </a:p>
        </p:txBody>
      </p:sp>
      <p:sp>
        <p:nvSpPr>
          <p:cNvPr id="3" name="Date Placeholder 2">
            <a:extLst>
              <a:ext uri="{FF2B5EF4-FFF2-40B4-BE49-F238E27FC236}">
                <a16:creationId xmlns:a16="http://schemas.microsoft.com/office/drawing/2014/main" id="{1ACEA5D2-AD2E-D546-9DBA-337CA0300B13}"/>
              </a:ext>
            </a:extLst>
          </p:cNvPr>
          <p:cNvSpPr>
            <a:spLocks noGrp="1"/>
          </p:cNvSpPr>
          <p:nvPr>
            <p:ph type="dt" sz="half" idx="10"/>
          </p:nvPr>
        </p:nvSpPr>
        <p:spPr/>
        <p:txBody>
          <a:bodyPr/>
          <a:lstStyle/>
          <a:p>
            <a:fld id="{6A0C4EFF-7BB9-A045-B777-5D40845EB54B}" type="datetimeFigureOut">
              <a:rPr lang="en-US" smtClean="0"/>
              <a:t>4/15/2020</a:t>
            </a:fld>
            <a:endParaRPr lang="en-US" dirty="0"/>
          </a:p>
        </p:txBody>
      </p:sp>
      <p:sp>
        <p:nvSpPr>
          <p:cNvPr id="4" name="Footer Placeholder 3">
            <a:extLst>
              <a:ext uri="{FF2B5EF4-FFF2-40B4-BE49-F238E27FC236}">
                <a16:creationId xmlns:a16="http://schemas.microsoft.com/office/drawing/2014/main" id="{7AE5D158-505B-5C4D-B8A0-EAA847AEEFB0}"/>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4505808F-7D4F-8E45-BB56-4C371D44B669}"/>
              </a:ext>
            </a:extLst>
          </p:cNvPr>
          <p:cNvSpPr>
            <a:spLocks noGrp="1"/>
          </p:cNvSpPr>
          <p:nvPr>
            <p:ph type="sldNum" sz="quarter" idx="12"/>
          </p:nvPr>
        </p:nvSpPr>
        <p:spPr/>
        <p:txBody>
          <a:bodyPr/>
          <a:lstStyle/>
          <a:p>
            <a:fld id="{3BA69586-E6B3-B646-96E5-E7A8350A3CCE}" type="slidenum">
              <a:rPr lang="en-US" smtClean="0"/>
              <a:pPr/>
              <a:t>‹#›</a:t>
            </a:fld>
            <a:endParaRPr lang="en-US" dirty="0"/>
          </a:p>
        </p:txBody>
      </p:sp>
    </p:spTree>
    <p:extLst>
      <p:ext uri="{BB962C8B-B14F-4D97-AF65-F5344CB8AC3E}">
        <p14:creationId xmlns:p14="http://schemas.microsoft.com/office/powerpoint/2010/main" val="25437242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D08E68FB-0146-2148-A558-03D55249A257}"/>
              </a:ext>
            </a:extLst>
          </p:cNvPr>
          <p:cNvSpPr>
            <a:spLocks noGrp="1"/>
          </p:cNvSpPr>
          <p:nvPr>
            <p:ph type="pic" sz="quarter" idx="13"/>
          </p:nvPr>
        </p:nvSpPr>
        <p:spPr>
          <a:xfrm>
            <a:off x="-3" y="1313233"/>
            <a:ext cx="5945712" cy="5554494"/>
          </a:xfrm>
          <a:custGeom>
            <a:avLst/>
            <a:gdLst>
              <a:gd name="connsiteX0" fmla="*/ 1266407 w 5945712"/>
              <a:gd name="connsiteY0" fmla="*/ 3497703 h 5554494"/>
              <a:gd name="connsiteX1" fmla="*/ 2619949 w 5945712"/>
              <a:gd name="connsiteY1" fmla="*/ 4851466 h 5554494"/>
              <a:gd name="connsiteX2" fmla="*/ 2423337 w 5945712"/>
              <a:gd name="connsiteY2" fmla="*/ 5554493 h 5554494"/>
              <a:gd name="connsiteX3" fmla="*/ 820368 w 5945712"/>
              <a:gd name="connsiteY3" fmla="*/ 5554493 h 5554494"/>
              <a:gd name="connsiteX4" fmla="*/ 109476 w 5945712"/>
              <a:gd name="connsiteY4" fmla="*/ 5554493 h 5554494"/>
              <a:gd name="connsiteX5" fmla="*/ 2 w 5945712"/>
              <a:gd name="connsiteY5" fmla="*/ 5554493 h 5554494"/>
              <a:gd name="connsiteX6" fmla="*/ 2 w 5945712"/>
              <a:gd name="connsiteY6" fmla="*/ 5330338 h 5554494"/>
              <a:gd name="connsiteX7" fmla="*/ 2 w 5945712"/>
              <a:gd name="connsiteY7" fmla="*/ 4834646 h 5554494"/>
              <a:gd name="connsiteX8" fmla="*/ 2 w 5945712"/>
              <a:gd name="connsiteY8" fmla="*/ 4372593 h 5554494"/>
              <a:gd name="connsiteX9" fmla="*/ 1266407 w 5945712"/>
              <a:gd name="connsiteY9" fmla="*/ 3497703 h 5554494"/>
              <a:gd name="connsiteX10" fmla="*/ 1718071 w 5945712"/>
              <a:gd name="connsiteY10" fmla="*/ 1879579 h 5554494"/>
              <a:gd name="connsiteX11" fmla="*/ 4040297 w 5945712"/>
              <a:gd name="connsiteY11" fmla="*/ 4244307 h 5554494"/>
              <a:gd name="connsiteX12" fmla="*/ 3651516 w 5945712"/>
              <a:gd name="connsiteY12" fmla="*/ 5554494 h 5554494"/>
              <a:gd name="connsiteX13" fmla="*/ 3071032 w 5945712"/>
              <a:gd name="connsiteY13" fmla="*/ 5554494 h 5554494"/>
              <a:gd name="connsiteX14" fmla="*/ 3099207 w 5945712"/>
              <a:gd name="connsiteY14" fmla="*/ 5185550 h 5554494"/>
              <a:gd name="connsiteX15" fmla="*/ 776981 w 5945712"/>
              <a:gd name="connsiteY15" fmla="*/ 2820822 h 5554494"/>
              <a:gd name="connsiteX16" fmla="*/ 1 w 5945712"/>
              <a:gd name="connsiteY16" fmla="*/ 2956489 h 5554494"/>
              <a:gd name="connsiteX17" fmla="*/ 1 w 5945712"/>
              <a:gd name="connsiteY17" fmla="*/ 2653374 h 5554494"/>
              <a:gd name="connsiteX18" fmla="*/ 1718071 w 5945712"/>
              <a:gd name="connsiteY18" fmla="*/ 1879579 h 5554494"/>
              <a:gd name="connsiteX19" fmla="*/ 2740488 w 5945712"/>
              <a:gd name="connsiteY19" fmla="*/ 0 h 5554494"/>
              <a:gd name="connsiteX20" fmla="*/ 5945712 w 5945712"/>
              <a:gd name="connsiteY20" fmla="*/ 3304517 h 5554494"/>
              <a:gd name="connsiteX21" fmla="*/ 5087897 w 5945712"/>
              <a:gd name="connsiteY21" fmla="*/ 5554494 h 5554494"/>
              <a:gd name="connsiteX22" fmla="*/ 4460155 w 5945712"/>
              <a:gd name="connsiteY22" fmla="*/ 5554494 h 5554494"/>
              <a:gd name="connsiteX23" fmla="*/ 4574742 w 5945712"/>
              <a:gd name="connsiteY23" fmla="*/ 4675710 h 5554494"/>
              <a:gd name="connsiteX24" fmla="*/ 1369518 w 5945712"/>
              <a:gd name="connsiteY24" fmla="*/ 1371193 h 5554494"/>
              <a:gd name="connsiteX25" fmla="*/ 0 w 5945712"/>
              <a:gd name="connsiteY25" fmla="*/ 1687236 h 5554494"/>
              <a:gd name="connsiteX26" fmla="*/ 0 w 5945712"/>
              <a:gd name="connsiteY26" fmla="*/ 1589887 h 5554494"/>
              <a:gd name="connsiteX27" fmla="*/ 2740488 w 5945712"/>
              <a:gd name="connsiteY27" fmla="*/ 0 h 5554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45712" h="5554494">
                <a:moveTo>
                  <a:pt x="1266407" y="3497703"/>
                </a:moveTo>
                <a:cubicBezTo>
                  <a:pt x="2013934" y="3497703"/>
                  <a:pt x="2619949" y="4103816"/>
                  <a:pt x="2619949" y="4851466"/>
                </a:cubicBezTo>
                <a:cubicBezTo>
                  <a:pt x="2620342" y="5099439"/>
                  <a:pt x="2552307" y="5342711"/>
                  <a:pt x="2423337" y="5554493"/>
                </a:cubicBezTo>
                <a:lnTo>
                  <a:pt x="820368" y="5554493"/>
                </a:lnTo>
                <a:lnTo>
                  <a:pt x="109476" y="5554493"/>
                </a:lnTo>
                <a:lnTo>
                  <a:pt x="2" y="5554493"/>
                </a:lnTo>
                <a:lnTo>
                  <a:pt x="2" y="5330338"/>
                </a:lnTo>
                <a:lnTo>
                  <a:pt x="2" y="4834646"/>
                </a:lnTo>
                <a:lnTo>
                  <a:pt x="2" y="4372593"/>
                </a:lnTo>
                <a:cubicBezTo>
                  <a:pt x="193390" y="3861272"/>
                  <a:pt x="687462" y="3497703"/>
                  <a:pt x="1266407" y="3497703"/>
                </a:cubicBezTo>
                <a:close/>
                <a:moveTo>
                  <a:pt x="1718071" y="1879579"/>
                </a:moveTo>
                <a:cubicBezTo>
                  <a:pt x="3000451" y="1879579"/>
                  <a:pt x="4040297" y="2938303"/>
                  <a:pt x="4040297" y="4244307"/>
                </a:cubicBezTo>
                <a:cubicBezTo>
                  <a:pt x="4040297" y="4728902"/>
                  <a:pt x="3897129" y="5179450"/>
                  <a:pt x="3651516" y="5554494"/>
                </a:cubicBezTo>
                <a:lnTo>
                  <a:pt x="3071032" y="5554494"/>
                </a:lnTo>
                <a:cubicBezTo>
                  <a:pt x="3089810" y="5432411"/>
                  <a:pt x="3099229" y="5309070"/>
                  <a:pt x="3099207" y="5185550"/>
                </a:cubicBezTo>
                <a:cubicBezTo>
                  <a:pt x="3099207" y="3879546"/>
                  <a:pt x="2059361" y="2820822"/>
                  <a:pt x="776981" y="2820822"/>
                </a:cubicBezTo>
                <a:cubicBezTo>
                  <a:pt x="512076" y="2820577"/>
                  <a:pt x="249153" y="2866485"/>
                  <a:pt x="1" y="2956489"/>
                </a:cubicBezTo>
                <a:lnTo>
                  <a:pt x="1" y="2653374"/>
                </a:lnTo>
                <a:cubicBezTo>
                  <a:pt x="424769" y="2177988"/>
                  <a:pt x="1037174" y="1879579"/>
                  <a:pt x="1718071" y="1879579"/>
                </a:cubicBezTo>
                <a:close/>
                <a:moveTo>
                  <a:pt x="2740488" y="0"/>
                </a:moveTo>
                <a:cubicBezTo>
                  <a:pt x="4510695" y="0"/>
                  <a:pt x="5945712" y="1479494"/>
                  <a:pt x="5945712" y="3304517"/>
                </a:cubicBezTo>
                <a:cubicBezTo>
                  <a:pt x="5945712" y="4173743"/>
                  <a:pt x="5620135" y="4964562"/>
                  <a:pt x="5087897" y="5554494"/>
                </a:cubicBezTo>
                <a:lnTo>
                  <a:pt x="4460155" y="5554494"/>
                </a:lnTo>
                <a:cubicBezTo>
                  <a:pt x="4536476" y="5267812"/>
                  <a:pt x="4574998" y="4972381"/>
                  <a:pt x="4574742" y="4675710"/>
                </a:cubicBezTo>
                <a:cubicBezTo>
                  <a:pt x="4574742" y="2850687"/>
                  <a:pt x="3139725" y="1371193"/>
                  <a:pt x="1369518" y="1371193"/>
                </a:cubicBezTo>
                <a:cubicBezTo>
                  <a:pt x="894893" y="1370753"/>
                  <a:pt x="426451" y="1478856"/>
                  <a:pt x="0" y="1687236"/>
                </a:cubicBezTo>
                <a:lnTo>
                  <a:pt x="0" y="1589887"/>
                </a:lnTo>
                <a:cubicBezTo>
                  <a:pt x="562301" y="636675"/>
                  <a:pt x="1579289" y="0"/>
                  <a:pt x="2740488" y="0"/>
                </a:cubicBezTo>
                <a:close/>
              </a:path>
            </a:pathLst>
          </a:custGeom>
          <a:blipFill>
            <a:blip r:embed="rId2"/>
            <a:stretch>
              <a:fillRect/>
            </a:stretch>
          </a:blipFill>
          <a:effectLst>
            <a:outerShdw blurRad="38100" dist="25400" dir="8100000" algn="tr" rotWithShape="0">
              <a:prstClr val="black">
                <a:alpha val="15000"/>
              </a:prstClr>
            </a:outerShdw>
          </a:effectLst>
        </p:spPr>
        <p:txBody>
          <a:bodyPr wrap="square">
            <a:noAutofit/>
          </a:bodyPr>
          <a:lstStyle>
            <a:lvl1pPr marL="0" indent="0" algn="l">
              <a:buNone/>
              <a:defRPr sz="1400"/>
            </a:lvl1pPr>
          </a:lstStyle>
          <a:p>
            <a:endParaRPr lang="en-US" dirty="0"/>
          </a:p>
        </p:txBody>
      </p:sp>
      <p:sp>
        <p:nvSpPr>
          <p:cNvPr id="3" name="Date Placeholder 2">
            <a:extLst>
              <a:ext uri="{FF2B5EF4-FFF2-40B4-BE49-F238E27FC236}">
                <a16:creationId xmlns:a16="http://schemas.microsoft.com/office/drawing/2014/main" id="{41D45395-EB5A-E94E-817F-D5F42D0FAF2F}"/>
              </a:ext>
            </a:extLst>
          </p:cNvPr>
          <p:cNvSpPr>
            <a:spLocks noGrp="1"/>
          </p:cNvSpPr>
          <p:nvPr>
            <p:ph type="dt" sz="half" idx="10"/>
          </p:nvPr>
        </p:nvSpPr>
        <p:spPr/>
        <p:txBody>
          <a:bodyPr/>
          <a:lstStyle/>
          <a:p>
            <a:fld id="{6A0C4EFF-7BB9-A045-B777-5D40845EB54B}" type="datetimeFigureOut">
              <a:rPr lang="en-US" smtClean="0"/>
              <a:t>4/15/2020</a:t>
            </a:fld>
            <a:endParaRPr lang="en-US" dirty="0"/>
          </a:p>
        </p:txBody>
      </p:sp>
      <p:sp>
        <p:nvSpPr>
          <p:cNvPr id="4" name="Footer Placeholder 3">
            <a:extLst>
              <a:ext uri="{FF2B5EF4-FFF2-40B4-BE49-F238E27FC236}">
                <a16:creationId xmlns:a16="http://schemas.microsoft.com/office/drawing/2014/main" id="{5DE52FD6-995D-D540-BFDC-97139DB77276}"/>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C1677EF2-61A3-B743-987D-470C917E192B}"/>
              </a:ext>
            </a:extLst>
          </p:cNvPr>
          <p:cNvSpPr>
            <a:spLocks noGrp="1"/>
          </p:cNvSpPr>
          <p:nvPr>
            <p:ph type="sldNum" sz="quarter" idx="12"/>
          </p:nvPr>
        </p:nvSpPr>
        <p:spPr/>
        <p:txBody>
          <a:bodyPr/>
          <a:lstStyle/>
          <a:p>
            <a:fld id="{3BA69586-E6B3-B646-96E5-E7A8350A3CCE}" type="slidenum">
              <a:rPr lang="en-US" smtClean="0"/>
              <a:pPr/>
              <a:t>‹#›</a:t>
            </a:fld>
            <a:endParaRPr lang="en-US" dirty="0"/>
          </a:p>
        </p:txBody>
      </p:sp>
    </p:spTree>
    <p:extLst>
      <p:ext uri="{BB962C8B-B14F-4D97-AF65-F5344CB8AC3E}">
        <p14:creationId xmlns:p14="http://schemas.microsoft.com/office/powerpoint/2010/main" val="2965830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E994601B-3B2D-E54B-9F76-F5250ACAFFD0}"/>
              </a:ext>
            </a:extLst>
          </p:cNvPr>
          <p:cNvSpPr>
            <a:spLocks noGrp="1"/>
          </p:cNvSpPr>
          <p:nvPr>
            <p:ph type="pic" sz="quarter" idx="13"/>
          </p:nvPr>
        </p:nvSpPr>
        <p:spPr>
          <a:xfrm>
            <a:off x="4742567" y="-2455"/>
            <a:ext cx="7449433" cy="6858001"/>
          </a:xfrm>
          <a:custGeom>
            <a:avLst/>
            <a:gdLst>
              <a:gd name="connsiteX0" fmla="*/ 2665100 w 7449433"/>
              <a:gd name="connsiteY0" fmla="*/ 2257540 h 6858001"/>
              <a:gd name="connsiteX1" fmla="*/ 2933036 w 7449433"/>
              <a:gd name="connsiteY1" fmla="*/ 3704925 h 6858001"/>
              <a:gd name="connsiteX2" fmla="*/ 1447315 w 7449433"/>
              <a:gd name="connsiteY2" fmla="*/ 6855545 h 6858001"/>
              <a:gd name="connsiteX3" fmla="*/ 0 w 7449433"/>
              <a:gd name="connsiteY3" fmla="*/ 6855545 h 6858001"/>
              <a:gd name="connsiteX4" fmla="*/ 2726619 w 7449433"/>
              <a:gd name="connsiteY4" fmla="*/ 2961483 h 6858001"/>
              <a:gd name="connsiteX5" fmla="*/ 2665100 w 7449433"/>
              <a:gd name="connsiteY5" fmla="*/ 2257540 h 6858001"/>
              <a:gd name="connsiteX6" fmla="*/ 1981516 w 7449433"/>
              <a:gd name="connsiteY6" fmla="*/ 751727 h 6858001"/>
              <a:gd name="connsiteX7" fmla="*/ 3700165 w 7449433"/>
              <a:gd name="connsiteY7" fmla="*/ 4215017 h 6858001"/>
              <a:gd name="connsiteX8" fmla="*/ 2805713 w 7449433"/>
              <a:gd name="connsiteY8" fmla="*/ 6858001 h 6858001"/>
              <a:gd name="connsiteX9" fmla="*/ 1720699 w 7449433"/>
              <a:gd name="connsiteY9" fmla="*/ 6858001 h 6858001"/>
              <a:gd name="connsiteX10" fmla="*/ 3060856 w 7449433"/>
              <a:gd name="connsiteY10" fmla="*/ 3666541 h 6858001"/>
              <a:gd name="connsiteX11" fmla="*/ 1981516 w 7449433"/>
              <a:gd name="connsiteY11" fmla="*/ 751727 h 6858001"/>
              <a:gd name="connsiteX12" fmla="*/ 757630 w 7449433"/>
              <a:gd name="connsiteY12" fmla="*/ 0 h 6858001"/>
              <a:gd name="connsiteX13" fmla="*/ 7099239 w 7449433"/>
              <a:gd name="connsiteY13" fmla="*/ 0 h 6858001"/>
              <a:gd name="connsiteX14" fmla="*/ 7099239 w 7449433"/>
              <a:gd name="connsiteY14" fmla="*/ 1 h 6858001"/>
              <a:gd name="connsiteX15" fmla="*/ 7449433 w 7449433"/>
              <a:gd name="connsiteY15" fmla="*/ 1 h 6858001"/>
              <a:gd name="connsiteX16" fmla="*/ 7449433 w 7449433"/>
              <a:gd name="connsiteY16" fmla="*/ 6858001 h 6858001"/>
              <a:gd name="connsiteX17" fmla="*/ 7099239 w 7449433"/>
              <a:gd name="connsiteY17" fmla="*/ 6858001 h 6858001"/>
              <a:gd name="connsiteX18" fmla="*/ 6992233 w 7449433"/>
              <a:gd name="connsiteY18" fmla="*/ 6858001 h 6858001"/>
              <a:gd name="connsiteX19" fmla="*/ 3127229 w 7449433"/>
              <a:gd name="connsiteY19" fmla="*/ 6858001 h 6858001"/>
              <a:gd name="connsiteX20" fmla="*/ 3127229 w 7449433"/>
              <a:gd name="connsiteY20" fmla="*/ 6857673 h 6858001"/>
              <a:gd name="connsiteX21" fmla="*/ 3101032 w 7449433"/>
              <a:gd name="connsiteY21" fmla="*/ 6857837 h 6858001"/>
              <a:gd name="connsiteX22" fmla="*/ 3073133 w 7449433"/>
              <a:gd name="connsiteY22" fmla="*/ 6857837 h 6858001"/>
              <a:gd name="connsiteX23" fmla="*/ 3798508 w 7449433"/>
              <a:gd name="connsiteY23" fmla="*/ 4295257 h 6858001"/>
              <a:gd name="connsiteX24" fmla="*/ 757630 w 7449433"/>
              <a:gd name="connsiteY24" fmla="*/ 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449433" h="6858001">
                <a:moveTo>
                  <a:pt x="2665100" y="2257540"/>
                </a:moveTo>
                <a:cubicBezTo>
                  <a:pt x="2838452" y="2708943"/>
                  <a:pt x="2933036" y="3196437"/>
                  <a:pt x="2933036" y="3704925"/>
                </a:cubicBezTo>
                <a:cubicBezTo>
                  <a:pt x="2933036" y="4957738"/>
                  <a:pt x="2358903" y="6082955"/>
                  <a:pt x="1447315" y="6855545"/>
                </a:cubicBezTo>
                <a:lnTo>
                  <a:pt x="0" y="6855545"/>
                </a:lnTo>
                <a:cubicBezTo>
                  <a:pt x="1601279" y="6219329"/>
                  <a:pt x="2726619" y="4715448"/>
                  <a:pt x="2726619" y="2961483"/>
                </a:cubicBezTo>
                <a:cubicBezTo>
                  <a:pt x="2726717" y="2725772"/>
                  <a:pt x="2706149" y="2490412"/>
                  <a:pt x="2665100" y="2257540"/>
                </a:cubicBezTo>
                <a:close/>
                <a:moveTo>
                  <a:pt x="1981516" y="751727"/>
                </a:moveTo>
                <a:cubicBezTo>
                  <a:pt x="3025506" y="1543934"/>
                  <a:pt x="3700165" y="2800383"/>
                  <a:pt x="3700165" y="4215017"/>
                </a:cubicBezTo>
                <a:cubicBezTo>
                  <a:pt x="3700165" y="5209657"/>
                  <a:pt x="3366630" y="6126120"/>
                  <a:pt x="2805713" y="6858001"/>
                </a:cubicBezTo>
                <a:lnTo>
                  <a:pt x="1720699" y="6858001"/>
                </a:lnTo>
                <a:cubicBezTo>
                  <a:pt x="2546331" y="6054888"/>
                  <a:pt x="3060856" y="4921941"/>
                  <a:pt x="3060856" y="3666541"/>
                </a:cubicBezTo>
                <a:cubicBezTo>
                  <a:pt x="3060856" y="2549086"/>
                  <a:pt x="2653270" y="1528836"/>
                  <a:pt x="1981516" y="751727"/>
                </a:cubicBezTo>
                <a:close/>
                <a:moveTo>
                  <a:pt x="757630" y="0"/>
                </a:moveTo>
                <a:lnTo>
                  <a:pt x="7099239" y="0"/>
                </a:lnTo>
                <a:lnTo>
                  <a:pt x="7099239" y="1"/>
                </a:lnTo>
                <a:lnTo>
                  <a:pt x="7449433" y="1"/>
                </a:lnTo>
                <a:lnTo>
                  <a:pt x="7449433" y="6858001"/>
                </a:lnTo>
                <a:lnTo>
                  <a:pt x="7099239" y="6858001"/>
                </a:lnTo>
                <a:lnTo>
                  <a:pt x="6992233" y="6858001"/>
                </a:lnTo>
                <a:lnTo>
                  <a:pt x="3127229" y="6858001"/>
                </a:lnTo>
                <a:lnTo>
                  <a:pt x="3127229" y="6857673"/>
                </a:lnTo>
                <a:lnTo>
                  <a:pt x="3101032" y="6857837"/>
                </a:lnTo>
                <a:lnTo>
                  <a:pt x="3073133" y="6857837"/>
                </a:lnTo>
                <a:cubicBezTo>
                  <a:pt x="3531568" y="6122976"/>
                  <a:pt x="3798508" y="5242146"/>
                  <a:pt x="3798508" y="4295257"/>
                </a:cubicBezTo>
                <a:cubicBezTo>
                  <a:pt x="3798508" y="2360312"/>
                  <a:pt x="2567190" y="428950"/>
                  <a:pt x="757630" y="0"/>
                </a:cubicBezTo>
                <a:close/>
              </a:path>
            </a:pathLst>
          </a:custGeom>
          <a:blipFill>
            <a:blip r:embed="rId2"/>
            <a:stretch>
              <a:fillRect/>
            </a:stretch>
          </a:blipFill>
        </p:spPr>
        <p:txBody>
          <a:bodyPr wrap="square">
            <a:noAutofit/>
          </a:bodyPr>
          <a:lstStyle>
            <a:lvl1pPr marL="0" indent="0">
              <a:buNone/>
              <a:defRPr sz="1400"/>
            </a:lvl1pPr>
          </a:lstStyle>
          <a:p>
            <a:endParaRPr lang="en-US"/>
          </a:p>
        </p:txBody>
      </p:sp>
      <p:sp>
        <p:nvSpPr>
          <p:cNvPr id="3" name="Date Placeholder 2">
            <a:extLst>
              <a:ext uri="{FF2B5EF4-FFF2-40B4-BE49-F238E27FC236}">
                <a16:creationId xmlns:a16="http://schemas.microsoft.com/office/drawing/2014/main" id="{DA4E19B1-8024-854E-A528-5D39BF9F4A03}"/>
              </a:ext>
            </a:extLst>
          </p:cNvPr>
          <p:cNvSpPr>
            <a:spLocks noGrp="1"/>
          </p:cNvSpPr>
          <p:nvPr>
            <p:ph type="dt" sz="half" idx="10"/>
          </p:nvPr>
        </p:nvSpPr>
        <p:spPr/>
        <p:txBody>
          <a:bodyPr/>
          <a:lstStyle/>
          <a:p>
            <a:fld id="{6A0C4EFF-7BB9-A045-B777-5D40845EB54B}" type="datetimeFigureOut">
              <a:rPr lang="en-US" smtClean="0"/>
              <a:t>4/15/2020</a:t>
            </a:fld>
            <a:endParaRPr lang="en-US" dirty="0"/>
          </a:p>
        </p:txBody>
      </p:sp>
      <p:sp>
        <p:nvSpPr>
          <p:cNvPr id="4" name="Footer Placeholder 3">
            <a:extLst>
              <a:ext uri="{FF2B5EF4-FFF2-40B4-BE49-F238E27FC236}">
                <a16:creationId xmlns:a16="http://schemas.microsoft.com/office/drawing/2014/main" id="{3C4596B1-F939-144B-A86F-3A92B41E40CB}"/>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5A2B621B-514F-5F43-8B77-1E1D3BECD821}"/>
              </a:ext>
            </a:extLst>
          </p:cNvPr>
          <p:cNvSpPr>
            <a:spLocks noGrp="1"/>
          </p:cNvSpPr>
          <p:nvPr>
            <p:ph type="sldNum" sz="quarter" idx="12"/>
          </p:nvPr>
        </p:nvSpPr>
        <p:spPr/>
        <p:txBody>
          <a:bodyPr/>
          <a:lstStyle/>
          <a:p>
            <a:fld id="{3BA69586-E6B3-B646-96E5-E7A8350A3CCE}" type="slidenum">
              <a:rPr lang="en-US" smtClean="0"/>
              <a:pPr/>
              <a:t>‹#›</a:t>
            </a:fld>
            <a:endParaRPr lang="en-US" dirty="0"/>
          </a:p>
        </p:txBody>
      </p:sp>
    </p:spTree>
    <p:extLst>
      <p:ext uri="{BB962C8B-B14F-4D97-AF65-F5344CB8AC3E}">
        <p14:creationId xmlns:p14="http://schemas.microsoft.com/office/powerpoint/2010/main" val="28001503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0_Custom Layout">
    <p:bg>
      <p:bgPr>
        <a:solidFill>
          <a:schemeClr val="bg2"/>
        </a:solidFill>
        <a:effectLst/>
      </p:bgPr>
    </p:bg>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F7574006-F958-184D-B7B8-15126BBB2776}"/>
              </a:ext>
            </a:extLst>
          </p:cNvPr>
          <p:cNvSpPr>
            <a:spLocks noGrp="1"/>
          </p:cNvSpPr>
          <p:nvPr>
            <p:ph type="pic" sz="quarter" idx="13"/>
          </p:nvPr>
        </p:nvSpPr>
        <p:spPr>
          <a:xfrm>
            <a:off x="1" y="1"/>
            <a:ext cx="7449433" cy="6858001"/>
          </a:xfrm>
          <a:custGeom>
            <a:avLst/>
            <a:gdLst>
              <a:gd name="connsiteX0" fmla="*/ 6002118 w 7449433"/>
              <a:gd name="connsiteY0" fmla="*/ 2456 h 6858001"/>
              <a:gd name="connsiteX1" fmla="*/ 7449433 w 7449433"/>
              <a:gd name="connsiteY1" fmla="*/ 2456 h 6858001"/>
              <a:gd name="connsiteX2" fmla="*/ 4722814 w 7449433"/>
              <a:gd name="connsiteY2" fmla="*/ 3896518 h 6858001"/>
              <a:gd name="connsiteX3" fmla="*/ 4784333 w 7449433"/>
              <a:gd name="connsiteY3" fmla="*/ 4600461 h 6858001"/>
              <a:gd name="connsiteX4" fmla="*/ 4516397 w 7449433"/>
              <a:gd name="connsiteY4" fmla="*/ 3153076 h 6858001"/>
              <a:gd name="connsiteX5" fmla="*/ 6002118 w 7449433"/>
              <a:gd name="connsiteY5" fmla="*/ 2456 h 6858001"/>
              <a:gd name="connsiteX6" fmla="*/ 4643720 w 7449433"/>
              <a:gd name="connsiteY6" fmla="*/ 0 h 6858001"/>
              <a:gd name="connsiteX7" fmla="*/ 5728734 w 7449433"/>
              <a:gd name="connsiteY7" fmla="*/ 0 h 6858001"/>
              <a:gd name="connsiteX8" fmla="*/ 4388577 w 7449433"/>
              <a:gd name="connsiteY8" fmla="*/ 3191460 h 6858001"/>
              <a:gd name="connsiteX9" fmla="*/ 5467917 w 7449433"/>
              <a:gd name="connsiteY9" fmla="*/ 6106274 h 6858001"/>
              <a:gd name="connsiteX10" fmla="*/ 3749268 w 7449433"/>
              <a:gd name="connsiteY10" fmla="*/ 2642984 h 6858001"/>
              <a:gd name="connsiteX11" fmla="*/ 4643720 w 7449433"/>
              <a:gd name="connsiteY11" fmla="*/ 0 h 6858001"/>
              <a:gd name="connsiteX12" fmla="*/ 0 w 7449433"/>
              <a:gd name="connsiteY12" fmla="*/ 0 h 6858001"/>
              <a:gd name="connsiteX13" fmla="*/ 350194 w 7449433"/>
              <a:gd name="connsiteY13" fmla="*/ 0 h 6858001"/>
              <a:gd name="connsiteX14" fmla="*/ 457200 w 7449433"/>
              <a:gd name="connsiteY14" fmla="*/ 0 h 6858001"/>
              <a:gd name="connsiteX15" fmla="*/ 4322204 w 7449433"/>
              <a:gd name="connsiteY15" fmla="*/ 0 h 6858001"/>
              <a:gd name="connsiteX16" fmla="*/ 4322204 w 7449433"/>
              <a:gd name="connsiteY16" fmla="*/ 328 h 6858001"/>
              <a:gd name="connsiteX17" fmla="*/ 4348401 w 7449433"/>
              <a:gd name="connsiteY17" fmla="*/ 164 h 6858001"/>
              <a:gd name="connsiteX18" fmla="*/ 4376300 w 7449433"/>
              <a:gd name="connsiteY18" fmla="*/ 164 h 6858001"/>
              <a:gd name="connsiteX19" fmla="*/ 3650925 w 7449433"/>
              <a:gd name="connsiteY19" fmla="*/ 2562744 h 6858001"/>
              <a:gd name="connsiteX20" fmla="*/ 6691803 w 7449433"/>
              <a:gd name="connsiteY20" fmla="*/ 6858001 h 6858001"/>
              <a:gd name="connsiteX21" fmla="*/ 350194 w 7449433"/>
              <a:gd name="connsiteY21" fmla="*/ 6858001 h 6858001"/>
              <a:gd name="connsiteX22" fmla="*/ 350194 w 7449433"/>
              <a:gd name="connsiteY22" fmla="*/ 6858000 h 6858001"/>
              <a:gd name="connsiteX23" fmla="*/ 0 w 7449433"/>
              <a:gd name="connsiteY23" fmla="*/ 685800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449433" h="6858001">
                <a:moveTo>
                  <a:pt x="6002118" y="2456"/>
                </a:moveTo>
                <a:lnTo>
                  <a:pt x="7449433" y="2456"/>
                </a:lnTo>
                <a:cubicBezTo>
                  <a:pt x="5848154" y="638672"/>
                  <a:pt x="4722814" y="2142553"/>
                  <a:pt x="4722814" y="3896518"/>
                </a:cubicBezTo>
                <a:cubicBezTo>
                  <a:pt x="4722716" y="4132229"/>
                  <a:pt x="4743284" y="4367589"/>
                  <a:pt x="4784333" y="4600461"/>
                </a:cubicBezTo>
                <a:cubicBezTo>
                  <a:pt x="4610981" y="4149058"/>
                  <a:pt x="4516397" y="3661564"/>
                  <a:pt x="4516397" y="3153076"/>
                </a:cubicBezTo>
                <a:cubicBezTo>
                  <a:pt x="4516397" y="1900263"/>
                  <a:pt x="5090530" y="775046"/>
                  <a:pt x="6002118" y="2456"/>
                </a:cubicBezTo>
                <a:close/>
                <a:moveTo>
                  <a:pt x="4643720" y="0"/>
                </a:moveTo>
                <a:lnTo>
                  <a:pt x="5728734" y="0"/>
                </a:lnTo>
                <a:cubicBezTo>
                  <a:pt x="4903102" y="803113"/>
                  <a:pt x="4388577" y="1936060"/>
                  <a:pt x="4388577" y="3191460"/>
                </a:cubicBezTo>
                <a:cubicBezTo>
                  <a:pt x="4388577" y="4308915"/>
                  <a:pt x="4796163" y="5329165"/>
                  <a:pt x="5467917" y="6106274"/>
                </a:cubicBezTo>
                <a:cubicBezTo>
                  <a:pt x="4423927" y="5314067"/>
                  <a:pt x="3749268" y="4057618"/>
                  <a:pt x="3749268" y="2642984"/>
                </a:cubicBezTo>
                <a:cubicBezTo>
                  <a:pt x="3749268" y="1648345"/>
                  <a:pt x="4082803" y="731881"/>
                  <a:pt x="4643720" y="0"/>
                </a:cubicBezTo>
                <a:close/>
                <a:moveTo>
                  <a:pt x="0" y="0"/>
                </a:moveTo>
                <a:lnTo>
                  <a:pt x="350194" y="0"/>
                </a:lnTo>
                <a:lnTo>
                  <a:pt x="457200" y="0"/>
                </a:lnTo>
                <a:lnTo>
                  <a:pt x="4322204" y="0"/>
                </a:lnTo>
                <a:lnTo>
                  <a:pt x="4322204" y="328"/>
                </a:lnTo>
                <a:lnTo>
                  <a:pt x="4348401" y="164"/>
                </a:lnTo>
                <a:lnTo>
                  <a:pt x="4376300" y="164"/>
                </a:lnTo>
                <a:cubicBezTo>
                  <a:pt x="3917865" y="735025"/>
                  <a:pt x="3650925" y="1615855"/>
                  <a:pt x="3650925" y="2562744"/>
                </a:cubicBezTo>
                <a:cubicBezTo>
                  <a:pt x="3650925" y="4497689"/>
                  <a:pt x="4882243" y="6429051"/>
                  <a:pt x="6691803" y="6858001"/>
                </a:cubicBezTo>
                <a:lnTo>
                  <a:pt x="350194" y="6858001"/>
                </a:lnTo>
                <a:lnTo>
                  <a:pt x="350194" y="6858000"/>
                </a:lnTo>
                <a:lnTo>
                  <a:pt x="0" y="6858000"/>
                </a:lnTo>
                <a:close/>
              </a:path>
            </a:pathLst>
          </a:custGeom>
          <a:blipFill>
            <a:blip r:embed="rId2"/>
            <a:stretch>
              <a:fillRect/>
            </a:stretch>
          </a:blipFill>
          <a:effectLst>
            <a:outerShdw blurRad="50800" dist="38100" algn="l" rotWithShape="0">
              <a:prstClr val="black">
                <a:alpha val="15000"/>
              </a:prstClr>
            </a:outerShdw>
          </a:effectLst>
        </p:spPr>
        <p:txBody>
          <a:bodyPr wrap="square">
            <a:noAutofit/>
          </a:bodyPr>
          <a:lstStyle>
            <a:lvl1pPr marL="0" indent="0">
              <a:buNone/>
              <a:defRPr sz="1400"/>
            </a:lvl1pPr>
          </a:lstStyle>
          <a:p>
            <a:endParaRPr lang="en-US"/>
          </a:p>
        </p:txBody>
      </p:sp>
      <p:sp>
        <p:nvSpPr>
          <p:cNvPr id="3" name="Date Placeholder 2">
            <a:extLst>
              <a:ext uri="{FF2B5EF4-FFF2-40B4-BE49-F238E27FC236}">
                <a16:creationId xmlns:a16="http://schemas.microsoft.com/office/drawing/2014/main" id="{47E63DA4-B707-A944-8DEE-316E03C547E8}"/>
              </a:ext>
            </a:extLst>
          </p:cNvPr>
          <p:cNvSpPr>
            <a:spLocks noGrp="1"/>
          </p:cNvSpPr>
          <p:nvPr>
            <p:ph type="dt" sz="half" idx="10"/>
          </p:nvPr>
        </p:nvSpPr>
        <p:spPr/>
        <p:txBody>
          <a:bodyPr/>
          <a:lstStyle/>
          <a:p>
            <a:fld id="{6A0C4EFF-7BB9-A045-B777-5D40845EB54B}" type="datetimeFigureOut">
              <a:rPr lang="en-US" smtClean="0"/>
              <a:t>4/15/2020</a:t>
            </a:fld>
            <a:endParaRPr lang="en-US" dirty="0"/>
          </a:p>
        </p:txBody>
      </p:sp>
      <p:sp>
        <p:nvSpPr>
          <p:cNvPr id="4" name="Footer Placeholder 3">
            <a:extLst>
              <a:ext uri="{FF2B5EF4-FFF2-40B4-BE49-F238E27FC236}">
                <a16:creationId xmlns:a16="http://schemas.microsoft.com/office/drawing/2014/main" id="{8988B0EA-FB86-0A49-B609-81BB3AF09B6E}"/>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FC2C1FFA-87CE-8447-8FBF-912CDB6325D7}"/>
              </a:ext>
            </a:extLst>
          </p:cNvPr>
          <p:cNvSpPr>
            <a:spLocks noGrp="1"/>
          </p:cNvSpPr>
          <p:nvPr>
            <p:ph type="sldNum" sz="quarter" idx="12"/>
          </p:nvPr>
        </p:nvSpPr>
        <p:spPr/>
        <p:txBody>
          <a:bodyPr/>
          <a:lstStyle/>
          <a:p>
            <a:fld id="{3BA69586-E6B3-B646-96E5-E7A8350A3CCE}" type="slidenum">
              <a:rPr lang="en-US" smtClean="0"/>
              <a:pPr/>
              <a:t>‹#›</a:t>
            </a:fld>
            <a:endParaRPr lang="en-US" dirty="0"/>
          </a:p>
        </p:txBody>
      </p:sp>
    </p:spTree>
    <p:extLst>
      <p:ext uri="{BB962C8B-B14F-4D97-AF65-F5344CB8AC3E}">
        <p14:creationId xmlns:p14="http://schemas.microsoft.com/office/powerpoint/2010/main" val="8553494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0B785D3F-727B-5147-A392-7B4DEC4DE1ED}"/>
              </a:ext>
            </a:extLst>
          </p:cNvPr>
          <p:cNvSpPr>
            <a:spLocks noGrp="1"/>
          </p:cNvSpPr>
          <p:nvPr>
            <p:ph type="pic" sz="quarter" idx="13"/>
          </p:nvPr>
        </p:nvSpPr>
        <p:spPr>
          <a:xfrm>
            <a:off x="2" y="2"/>
            <a:ext cx="6492885" cy="6531295"/>
          </a:xfrm>
          <a:custGeom>
            <a:avLst/>
            <a:gdLst>
              <a:gd name="connsiteX0" fmla="*/ 0 w 6492885"/>
              <a:gd name="connsiteY0" fmla="*/ 4171860 h 6531295"/>
              <a:gd name="connsiteX1" fmla="*/ 93881 w 6492885"/>
              <a:gd name="connsiteY1" fmla="*/ 4305014 h 6531295"/>
              <a:gd name="connsiteX2" fmla="*/ 3147139 w 6492885"/>
              <a:gd name="connsiteY2" fmla="*/ 5397298 h 6531295"/>
              <a:gd name="connsiteX3" fmla="*/ 3191304 w 6492885"/>
              <a:gd name="connsiteY3" fmla="*/ 5590505 h 6531295"/>
              <a:gd name="connsiteX4" fmla="*/ 531286 w 6492885"/>
              <a:gd name="connsiteY4" fmla="*/ 5015371 h 6531295"/>
              <a:gd name="connsiteX5" fmla="*/ 438216 w 6492885"/>
              <a:gd name="connsiteY5" fmla="*/ 4938008 h 6531295"/>
              <a:gd name="connsiteX6" fmla="*/ 285067 w 6492885"/>
              <a:gd name="connsiteY6" fmla="*/ 5059488 h 6531295"/>
              <a:gd name="connsiteX7" fmla="*/ 340159 w 6492885"/>
              <a:gd name="connsiteY7" fmla="*/ 5104890 h 6531295"/>
              <a:gd name="connsiteX8" fmla="*/ 1249339 w 6492885"/>
              <a:gd name="connsiteY8" fmla="*/ 5592226 h 6531295"/>
              <a:gd name="connsiteX9" fmla="*/ 1156304 w 6492885"/>
              <a:gd name="connsiteY9" fmla="*/ 5865938 h 6531295"/>
              <a:gd name="connsiteX10" fmla="*/ 163728 w 6492885"/>
              <a:gd name="connsiteY10" fmla="*/ 5333902 h 6531295"/>
              <a:gd name="connsiteX11" fmla="*/ 0 w 6492885"/>
              <a:gd name="connsiteY11" fmla="*/ 5198971 h 6531295"/>
              <a:gd name="connsiteX12" fmla="*/ 744490 w 6492885"/>
              <a:gd name="connsiteY12" fmla="*/ 0 h 6531295"/>
              <a:gd name="connsiteX13" fmla="*/ 662938 w 6492885"/>
              <a:gd name="connsiteY13" fmla="*/ 55795 h 6531295"/>
              <a:gd name="connsiteX14" fmla="*/ 125399 w 6492885"/>
              <a:gd name="connsiteY14" fmla="*/ 577176 h 6531295"/>
              <a:gd name="connsiteX15" fmla="*/ 0 w 6492885"/>
              <a:gd name="connsiteY15" fmla="*/ 747566 h 6531295"/>
              <a:gd name="connsiteX16" fmla="*/ 1 w 6492885"/>
              <a:gd name="connsiteY16" fmla="*/ 418700 h 6531295"/>
              <a:gd name="connsiteX17" fmla="*/ 144220 w 6492885"/>
              <a:gd name="connsiteY17" fmla="*/ 254116 h 6531295"/>
              <a:gd name="connsiteX18" fmla="*/ 322049 w 6492885"/>
              <a:gd name="connsiteY18" fmla="*/ 80393 h 6531295"/>
              <a:gd name="connsiteX19" fmla="*/ 419461 w 6492885"/>
              <a:gd name="connsiteY19" fmla="*/ 0 h 6531295"/>
              <a:gd name="connsiteX20" fmla="*/ 4535629 w 6492885"/>
              <a:gd name="connsiteY20" fmla="*/ 0 h 6531295"/>
              <a:gd name="connsiteX21" fmla="*/ 5606846 w 6492885"/>
              <a:gd name="connsiteY21" fmla="*/ 0 h 6531295"/>
              <a:gd name="connsiteX22" fmla="*/ 5778121 w 6492885"/>
              <a:gd name="connsiteY22" fmla="*/ 226815 h 6531295"/>
              <a:gd name="connsiteX23" fmla="*/ 6107404 w 6492885"/>
              <a:gd name="connsiteY23" fmla="*/ 4230912 h 6531295"/>
              <a:gd name="connsiteX24" fmla="*/ 1816166 w 6492885"/>
              <a:gd name="connsiteY24" fmla="*/ 6476491 h 6531295"/>
              <a:gd name="connsiteX25" fmla="*/ 1903523 w 6492885"/>
              <a:gd name="connsiteY25" fmla="*/ 5951896 h 6531295"/>
              <a:gd name="connsiteX26" fmla="*/ 4980081 w 6492885"/>
              <a:gd name="connsiteY26" fmla="*/ 4938345 h 6531295"/>
              <a:gd name="connsiteX27" fmla="*/ 5079969 w 6492885"/>
              <a:gd name="connsiteY27" fmla="*/ 4826460 h 6531295"/>
              <a:gd name="connsiteX28" fmla="*/ 4933439 w 6492885"/>
              <a:gd name="connsiteY28" fmla="*/ 4697027 h 6531295"/>
              <a:gd name="connsiteX29" fmla="*/ 5681224 w 6492885"/>
              <a:gd name="connsiteY29" fmla="*/ 1772729 h 6531295"/>
              <a:gd name="connsiteX30" fmla="*/ 5870348 w 6492885"/>
              <a:gd name="connsiteY30" fmla="*/ 1729876 h 6531295"/>
              <a:gd name="connsiteX31" fmla="*/ 5825013 w 6492885"/>
              <a:gd name="connsiteY31" fmla="*/ 1550624 h 6531295"/>
              <a:gd name="connsiteX32" fmla="*/ 5340913 w 6492885"/>
              <a:gd name="connsiteY32" fmla="*/ 529676 h 6531295"/>
              <a:gd name="connsiteX33" fmla="*/ 5189737 w 6492885"/>
              <a:gd name="connsiteY33" fmla="*/ 329478 h 6531295"/>
              <a:gd name="connsiteX34" fmla="*/ 4999170 w 6492885"/>
              <a:gd name="connsiteY34" fmla="*/ 480640 h 6531295"/>
              <a:gd name="connsiteX35" fmla="*/ 5029866 w 6492885"/>
              <a:gd name="connsiteY35" fmla="*/ 516925 h 6531295"/>
              <a:gd name="connsiteX36" fmla="*/ 5376314 w 6492885"/>
              <a:gd name="connsiteY36" fmla="*/ 1086432 h 6531295"/>
              <a:gd name="connsiteX37" fmla="*/ 5450246 w 6492885"/>
              <a:gd name="connsiteY37" fmla="*/ 3667456 h 6531295"/>
              <a:gd name="connsiteX38" fmla="*/ 5266580 w 6492885"/>
              <a:gd name="connsiteY38" fmla="*/ 3592977 h 6531295"/>
              <a:gd name="connsiteX39" fmla="*/ 5197211 w 6492885"/>
              <a:gd name="connsiteY39" fmla="*/ 1171303 h 6531295"/>
              <a:gd name="connsiteX40" fmla="*/ 4448659 w 6492885"/>
              <a:gd name="connsiteY40" fmla="*/ 185565 h 6531295"/>
              <a:gd name="connsiteX41" fmla="*/ 4211031 w 6492885"/>
              <a:gd name="connsiteY41" fmla="*/ 0 h 6531295"/>
              <a:gd name="connsiteX42" fmla="*/ 4532623 w 6492885"/>
              <a:gd name="connsiteY42" fmla="*/ 0 h 6531295"/>
              <a:gd name="connsiteX43" fmla="*/ 4540523 w 6492885"/>
              <a:gd name="connsiteY43" fmla="*/ 6169 h 6531295"/>
              <a:gd name="connsiteX44" fmla="*/ 3852607 w 6492885"/>
              <a:gd name="connsiteY44" fmla="*/ 0 h 6531295"/>
              <a:gd name="connsiteX45" fmla="*/ 4053202 w 6492885"/>
              <a:gd name="connsiteY45" fmla="*/ 121865 h 6531295"/>
              <a:gd name="connsiteX46" fmla="*/ 5296964 w 6492885"/>
              <a:gd name="connsiteY46" fmla="*/ 2461100 h 6531295"/>
              <a:gd name="connsiteX47" fmla="*/ 2475943 w 6492885"/>
              <a:gd name="connsiteY47" fmla="*/ 5282120 h 6531295"/>
              <a:gd name="connsiteX48" fmla="*/ 136709 w 6492885"/>
              <a:gd name="connsiteY48" fmla="*/ 4038358 h 6531295"/>
              <a:gd name="connsiteX49" fmla="*/ 1 w 6492885"/>
              <a:gd name="connsiteY49" fmla="*/ 3813332 h 6531295"/>
              <a:gd name="connsiteX50" fmla="*/ 1 w 6492885"/>
              <a:gd name="connsiteY50" fmla="*/ 1108550 h 6531295"/>
              <a:gd name="connsiteX51" fmla="*/ 81171 w 6492885"/>
              <a:gd name="connsiteY51" fmla="*/ 969332 h 6531295"/>
              <a:gd name="connsiteX52" fmla="*/ 898683 w 6492885"/>
              <a:gd name="connsiteY52" fmla="*/ 121865 h 6531295"/>
              <a:gd name="connsiteX53" fmla="*/ 1099278 w 6492885"/>
              <a:gd name="connsiteY53" fmla="*/ 0 h 6531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6492885" h="6531295">
                <a:moveTo>
                  <a:pt x="0" y="4171860"/>
                </a:moveTo>
                <a:lnTo>
                  <a:pt x="93881" y="4305014"/>
                </a:lnTo>
                <a:cubicBezTo>
                  <a:pt x="797012" y="5213684"/>
                  <a:pt x="1980931" y="5663885"/>
                  <a:pt x="3147139" y="5397298"/>
                </a:cubicBezTo>
                <a:lnTo>
                  <a:pt x="3191304" y="5590505"/>
                </a:lnTo>
                <a:cubicBezTo>
                  <a:pt x="2235192" y="5809067"/>
                  <a:pt x="1267909" y="5575584"/>
                  <a:pt x="531286" y="5015371"/>
                </a:cubicBezTo>
                <a:lnTo>
                  <a:pt x="438216" y="4938008"/>
                </a:lnTo>
                <a:lnTo>
                  <a:pt x="285067" y="5059488"/>
                </a:lnTo>
                <a:lnTo>
                  <a:pt x="340159" y="5104890"/>
                </a:lnTo>
                <a:cubicBezTo>
                  <a:pt x="613291" y="5315312"/>
                  <a:pt x="920233" y="5480361"/>
                  <a:pt x="1249339" y="5592226"/>
                </a:cubicBezTo>
                <a:lnTo>
                  <a:pt x="1156304" y="5865938"/>
                </a:lnTo>
                <a:cubicBezTo>
                  <a:pt x="797010" y="5743813"/>
                  <a:pt x="461913" y="5563625"/>
                  <a:pt x="163728" y="5333902"/>
                </a:cubicBezTo>
                <a:lnTo>
                  <a:pt x="0" y="5198971"/>
                </a:lnTo>
                <a:close/>
                <a:moveTo>
                  <a:pt x="744490" y="0"/>
                </a:moveTo>
                <a:lnTo>
                  <a:pt x="662938" y="55795"/>
                </a:lnTo>
                <a:cubicBezTo>
                  <a:pt x="459554" y="208875"/>
                  <a:pt x="279790" y="384473"/>
                  <a:pt x="125399" y="577176"/>
                </a:cubicBezTo>
                <a:lnTo>
                  <a:pt x="0" y="747566"/>
                </a:lnTo>
                <a:lnTo>
                  <a:pt x="1" y="418700"/>
                </a:lnTo>
                <a:lnTo>
                  <a:pt x="144220" y="254116"/>
                </a:lnTo>
                <a:cubicBezTo>
                  <a:pt x="200958" y="194199"/>
                  <a:pt x="260253" y="136234"/>
                  <a:pt x="322049" y="80393"/>
                </a:cubicBezTo>
                <a:lnTo>
                  <a:pt x="419461" y="0"/>
                </a:lnTo>
                <a:close/>
                <a:moveTo>
                  <a:pt x="4535629" y="0"/>
                </a:moveTo>
                <a:lnTo>
                  <a:pt x="5606846" y="0"/>
                </a:lnTo>
                <a:lnTo>
                  <a:pt x="5778121" y="226815"/>
                </a:lnTo>
                <a:cubicBezTo>
                  <a:pt x="6581518" y="1386297"/>
                  <a:pt x="6731027" y="2911652"/>
                  <a:pt x="6107404" y="4230912"/>
                </a:cubicBezTo>
                <a:cubicBezTo>
                  <a:pt x="5339871" y="5854616"/>
                  <a:pt x="3587747" y="6771491"/>
                  <a:pt x="1816166" y="6476491"/>
                </a:cubicBezTo>
                <a:lnTo>
                  <a:pt x="1903523" y="5951896"/>
                </a:lnTo>
                <a:cubicBezTo>
                  <a:pt x="3056289" y="6143852"/>
                  <a:pt x="4199562" y="5744383"/>
                  <a:pt x="4980081" y="4938345"/>
                </a:cubicBezTo>
                <a:lnTo>
                  <a:pt x="5079969" y="4826460"/>
                </a:lnTo>
                <a:lnTo>
                  <a:pt x="4933439" y="4697027"/>
                </a:lnTo>
                <a:cubicBezTo>
                  <a:pt x="5638246" y="3899119"/>
                  <a:pt x="5916487" y="2811027"/>
                  <a:pt x="5681224" y="1772729"/>
                </a:cubicBezTo>
                <a:lnTo>
                  <a:pt x="5870348" y="1729876"/>
                </a:lnTo>
                <a:lnTo>
                  <a:pt x="5825013" y="1550624"/>
                </a:lnTo>
                <a:cubicBezTo>
                  <a:pt x="5721153" y="1189404"/>
                  <a:pt x="5558734" y="844041"/>
                  <a:pt x="5340913" y="529676"/>
                </a:cubicBezTo>
                <a:lnTo>
                  <a:pt x="5189737" y="329478"/>
                </a:lnTo>
                <a:lnTo>
                  <a:pt x="4999170" y="480640"/>
                </a:lnTo>
                <a:lnTo>
                  <a:pt x="5029866" y="516925"/>
                </a:lnTo>
                <a:cubicBezTo>
                  <a:pt x="5163730" y="692802"/>
                  <a:pt x="5280108" y="883415"/>
                  <a:pt x="5376314" y="1086432"/>
                </a:cubicBezTo>
                <a:cubicBezTo>
                  <a:pt x="5761134" y="1898502"/>
                  <a:pt x="5787951" y="2834691"/>
                  <a:pt x="5450246" y="3667456"/>
                </a:cubicBezTo>
                <a:lnTo>
                  <a:pt x="5266580" y="3592977"/>
                </a:lnTo>
                <a:cubicBezTo>
                  <a:pt x="5583435" y="2811625"/>
                  <a:pt x="5558272" y="1933235"/>
                  <a:pt x="5197211" y="1171303"/>
                </a:cubicBezTo>
                <a:cubicBezTo>
                  <a:pt x="5016679" y="790337"/>
                  <a:pt x="4760439" y="455927"/>
                  <a:pt x="4448659" y="185565"/>
                </a:cubicBezTo>
                <a:lnTo>
                  <a:pt x="4211031" y="0"/>
                </a:lnTo>
                <a:lnTo>
                  <a:pt x="4532623" y="0"/>
                </a:lnTo>
                <a:lnTo>
                  <a:pt x="4540523" y="6169"/>
                </a:lnTo>
                <a:close/>
                <a:moveTo>
                  <a:pt x="3852607" y="0"/>
                </a:moveTo>
                <a:lnTo>
                  <a:pt x="4053202" y="121865"/>
                </a:lnTo>
                <a:cubicBezTo>
                  <a:pt x="4803599" y="628823"/>
                  <a:pt x="5296963" y="1487346"/>
                  <a:pt x="5296964" y="2461100"/>
                </a:cubicBezTo>
                <a:cubicBezTo>
                  <a:pt x="5296963" y="4019106"/>
                  <a:pt x="4033949" y="5282120"/>
                  <a:pt x="2475943" y="5282120"/>
                </a:cubicBezTo>
                <a:cubicBezTo>
                  <a:pt x="1502188" y="5282120"/>
                  <a:pt x="643666" y="4788756"/>
                  <a:pt x="136709" y="4038358"/>
                </a:cubicBezTo>
                <a:lnTo>
                  <a:pt x="1" y="3813332"/>
                </a:lnTo>
                <a:lnTo>
                  <a:pt x="1" y="1108550"/>
                </a:lnTo>
                <a:lnTo>
                  <a:pt x="81171" y="969332"/>
                </a:lnTo>
                <a:cubicBezTo>
                  <a:pt x="291284" y="632745"/>
                  <a:pt x="570384" y="343659"/>
                  <a:pt x="898683" y="121865"/>
                </a:cubicBezTo>
                <a:lnTo>
                  <a:pt x="1099278" y="0"/>
                </a:lnTo>
                <a:close/>
              </a:path>
            </a:pathLst>
          </a:custGeom>
          <a:blipFill>
            <a:blip r:embed="rId2"/>
            <a:stretch>
              <a:fillRect/>
            </a:stretch>
          </a:blipFill>
          <a:effectLst>
            <a:outerShdw blurRad="254000" algn="ctr" rotWithShape="0">
              <a:prstClr val="black">
                <a:alpha val="10000"/>
              </a:prstClr>
            </a:outerShdw>
          </a:effectLst>
        </p:spPr>
        <p:txBody>
          <a:bodyPr wrap="square">
            <a:noAutofit/>
          </a:bodyPr>
          <a:lstStyle>
            <a:lvl1pPr marL="0" indent="0">
              <a:buNone/>
              <a:defRPr sz="1400"/>
            </a:lvl1pPr>
          </a:lstStyle>
          <a:p>
            <a:endParaRPr lang="en-US"/>
          </a:p>
        </p:txBody>
      </p:sp>
      <p:sp>
        <p:nvSpPr>
          <p:cNvPr id="3" name="Date Placeholder 2">
            <a:extLst>
              <a:ext uri="{FF2B5EF4-FFF2-40B4-BE49-F238E27FC236}">
                <a16:creationId xmlns:a16="http://schemas.microsoft.com/office/drawing/2014/main" id="{DA13F570-9D3B-A64F-B013-4F0587AAC6E7}"/>
              </a:ext>
            </a:extLst>
          </p:cNvPr>
          <p:cNvSpPr>
            <a:spLocks noGrp="1"/>
          </p:cNvSpPr>
          <p:nvPr>
            <p:ph type="dt" sz="half" idx="10"/>
          </p:nvPr>
        </p:nvSpPr>
        <p:spPr/>
        <p:txBody>
          <a:bodyPr/>
          <a:lstStyle/>
          <a:p>
            <a:fld id="{6A0C4EFF-7BB9-A045-B777-5D40845EB54B}" type="datetimeFigureOut">
              <a:rPr lang="en-US" smtClean="0"/>
              <a:t>4/15/2020</a:t>
            </a:fld>
            <a:endParaRPr lang="en-US" dirty="0"/>
          </a:p>
        </p:txBody>
      </p:sp>
      <p:sp>
        <p:nvSpPr>
          <p:cNvPr id="4" name="Footer Placeholder 3">
            <a:extLst>
              <a:ext uri="{FF2B5EF4-FFF2-40B4-BE49-F238E27FC236}">
                <a16:creationId xmlns:a16="http://schemas.microsoft.com/office/drawing/2014/main" id="{1AC9FD41-AD21-204E-8E1E-B9BB289E4BFC}"/>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08C64BF2-1BD2-F947-8E2A-2574C17C3D5A}"/>
              </a:ext>
            </a:extLst>
          </p:cNvPr>
          <p:cNvSpPr>
            <a:spLocks noGrp="1"/>
          </p:cNvSpPr>
          <p:nvPr>
            <p:ph type="sldNum" sz="quarter" idx="12"/>
          </p:nvPr>
        </p:nvSpPr>
        <p:spPr/>
        <p:txBody>
          <a:bodyPr/>
          <a:lstStyle/>
          <a:p>
            <a:fld id="{3BA69586-E6B3-B646-96E5-E7A8350A3CCE}" type="slidenum">
              <a:rPr lang="en-US" smtClean="0"/>
              <a:pPr/>
              <a:t>‹#›</a:t>
            </a:fld>
            <a:endParaRPr lang="en-US" dirty="0"/>
          </a:p>
        </p:txBody>
      </p:sp>
    </p:spTree>
    <p:extLst>
      <p:ext uri="{BB962C8B-B14F-4D97-AF65-F5344CB8AC3E}">
        <p14:creationId xmlns:p14="http://schemas.microsoft.com/office/powerpoint/2010/main" val="18204202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8FF68949-CE8E-3A4F-8384-2827283DCC88}"/>
              </a:ext>
            </a:extLst>
          </p:cNvPr>
          <p:cNvSpPr>
            <a:spLocks noGrp="1"/>
          </p:cNvSpPr>
          <p:nvPr>
            <p:ph type="pic" sz="quarter" idx="13"/>
          </p:nvPr>
        </p:nvSpPr>
        <p:spPr>
          <a:xfrm>
            <a:off x="0" y="0"/>
            <a:ext cx="4524717" cy="6858000"/>
          </a:xfrm>
          <a:custGeom>
            <a:avLst/>
            <a:gdLst>
              <a:gd name="connsiteX0" fmla="*/ 0 w 4524717"/>
              <a:gd name="connsiteY0" fmla="*/ 0 h 6914414"/>
              <a:gd name="connsiteX1" fmla="*/ 4524717 w 4524717"/>
              <a:gd name="connsiteY1" fmla="*/ 0 h 6914414"/>
              <a:gd name="connsiteX2" fmla="*/ 4524717 w 4524717"/>
              <a:gd name="connsiteY2" fmla="*/ 6914414 h 6914414"/>
              <a:gd name="connsiteX3" fmla="*/ 0 w 4524717"/>
              <a:gd name="connsiteY3" fmla="*/ 6914414 h 6914414"/>
            </a:gdLst>
            <a:ahLst/>
            <a:cxnLst>
              <a:cxn ang="0">
                <a:pos x="connsiteX0" y="connsiteY0"/>
              </a:cxn>
              <a:cxn ang="0">
                <a:pos x="connsiteX1" y="connsiteY1"/>
              </a:cxn>
              <a:cxn ang="0">
                <a:pos x="connsiteX2" y="connsiteY2"/>
              </a:cxn>
              <a:cxn ang="0">
                <a:pos x="connsiteX3" y="connsiteY3"/>
              </a:cxn>
            </a:cxnLst>
            <a:rect l="l" t="t" r="r" b="b"/>
            <a:pathLst>
              <a:path w="4524717" h="6914414">
                <a:moveTo>
                  <a:pt x="0" y="0"/>
                </a:moveTo>
                <a:lnTo>
                  <a:pt x="4524717" y="0"/>
                </a:lnTo>
                <a:lnTo>
                  <a:pt x="4524717" y="6914414"/>
                </a:lnTo>
                <a:lnTo>
                  <a:pt x="0" y="6914414"/>
                </a:lnTo>
                <a:close/>
              </a:path>
            </a:pathLst>
          </a:custGeom>
          <a:blipFill>
            <a:blip r:embed="rId2"/>
            <a:stretch>
              <a:fillRect/>
            </a:stretch>
          </a:blipFill>
        </p:spPr>
        <p:txBody>
          <a:bodyPr wrap="square">
            <a:noAutofit/>
          </a:bodyPr>
          <a:lstStyle>
            <a:lvl1pPr marL="0" indent="0">
              <a:buNone/>
              <a:defRPr sz="1400"/>
            </a:lvl1pPr>
          </a:lstStyle>
          <a:p>
            <a:endParaRPr lang="en-US"/>
          </a:p>
        </p:txBody>
      </p:sp>
      <p:sp>
        <p:nvSpPr>
          <p:cNvPr id="3" name="Date Placeholder 2">
            <a:extLst>
              <a:ext uri="{FF2B5EF4-FFF2-40B4-BE49-F238E27FC236}">
                <a16:creationId xmlns:a16="http://schemas.microsoft.com/office/drawing/2014/main" id="{55C4D617-5459-DE42-A9CA-EAE5ACC0B179}"/>
              </a:ext>
            </a:extLst>
          </p:cNvPr>
          <p:cNvSpPr>
            <a:spLocks noGrp="1"/>
          </p:cNvSpPr>
          <p:nvPr>
            <p:ph type="dt" sz="half" idx="10"/>
          </p:nvPr>
        </p:nvSpPr>
        <p:spPr/>
        <p:txBody>
          <a:bodyPr/>
          <a:lstStyle/>
          <a:p>
            <a:fld id="{6A0C4EFF-7BB9-A045-B777-5D40845EB54B}" type="datetimeFigureOut">
              <a:rPr lang="en-US" smtClean="0"/>
              <a:t>4/15/2020</a:t>
            </a:fld>
            <a:endParaRPr lang="en-US" dirty="0"/>
          </a:p>
        </p:txBody>
      </p:sp>
      <p:sp>
        <p:nvSpPr>
          <p:cNvPr id="4" name="Footer Placeholder 3">
            <a:extLst>
              <a:ext uri="{FF2B5EF4-FFF2-40B4-BE49-F238E27FC236}">
                <a16:creationId xmlns:a16="http://schemas.microsoft.com/office/drawing/2014/main" id="{9BF15B7D-FEE3-0A49-B3F5-FF736A5D6257}"/>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4E00FA64-D605-274E-BEE5-61A4A3D2981A}"/>
              </a:ext>
            </a:extLst>
          </p:cNvPr>
          <p:cNvSpPr>
            <a:spLocks noGrp="1"/>
          </p:cNvSpPr>
          <p:nvPr>
            <p:ph type="sldNum" sz="quarter" idx="12"/>
          </p:nvPr>
        </p:nvSpPr>
        <p:spPr/>
        <p:txBody>
          <a:bodyPr/>
          <a:lstStyle/>
          <a:p>
            <a:fld id="{3BA69586-E6B3-B646-96E5-E7A8350A3CCE}" type="slidenum">
              <a:rPr lang="en-US" smtClean="0"/>
              <a:pPr/>
              <a:t>‹#›</a:t>
            </a:fld>
            <a:endParaRPr lang="en-US" dirty="0"/>
          </a:p>
        </p:txBody>
      </p:sp>
    </p:spTree>
    <p:extLst>
      <p:ext uri="{BB962C8B-B14F-4D97-AF65-F5344CB8AC3E}">
        <p14:creationId xmlns:p14="http://schemas.microsoft.com/office/powerpoint/2010/main" val="31165432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22" name="Picture Placeholder 21">
            <a:extLst>
              <a:ext uri="{FF2B5EF4-FFF2-40B4-BE49-F238E27FC236}">
                <a16:creationId xmlns:a16="http://schemas.microsoft.com/office/drawing/2014/main" id="{ACA808E5-A895-2D49-A985-1AAE1D8C521A}"/>
              </a:ext>
            </a:extLst>
          </p:cNvPr>
          <p:cNvSpPr>
            <a:spLocks noGrp="1"/>
          </p:cNvSpPr>
          <p:nvPr>
            <p:ph type="pic" sz="quarter" idx="16"/>
          </p:nvPr>
        </p:nvSpPr>
        <p:spPr>
          <a:xfrm>
            <a:off x="6237479" y="4103452"/>
            <a:ext cx="1674780" cy="1674780"/>
          </a:xfrm>
          <a:custGeom>
            <a:avLst/>
            <a:gdLst>
              <a:gd name="connsiteX0" fmla="*/ 0 w 1674780"/>
              <a:gd name="connsiteY0" fmla="*/ 0 h 1674780"/>
              <a:gd name="connsiteX1" fmla="*/ 837390 w 1674780"/>
              <a:gd name="connsiteY1" fmla="*/ 0 h 1674780"/>
              <a:gd name="connsiteX2" fmla="*/ 1674780 w 1674780"/>
              <a:gd name="connsiteY2" fmla="*/ 837390 h 1674780"/>
              <a:gd name="connsiteX3" fmla="*/ 837390 w 1674780"/>
              <a:gd name="connsiteY3" fmla="*/ 1674780 h 1674780"/>
              <a:gd name="connsiteX4" fmla="*/ 837390 w 1674780"/>
              <a:gd name="connsiteY4" fmla="*/ 1674779 h 1674780"/>
              <a:gd name="connsiteX5" fmla="*/ 0 w 1674780"/>
              <a:gd name="connsiteY5" fmla="*/ 837389 h 1674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4780" h="1674780">
                <a:moveTo>
                  <a:pt x="0" y="0"/>
                </a:moveTo>
                <a:lnTo>
                  <a:pt x="837390" y="0"/>
                </a:lnTo>
                <a:cubicBezTo>
                  <a:pt x="1299868" y="0"/>
                  <a:pt x="1674780" y="374912"/>
                  <a:pt x="1674780" y="837390"/>
                </a:cubicBezTo>
                <a:cubicBezTo>
                  <a:pt x="1674780" y="1299868"/>
                  <a:pt x="1299868" y="1674780"/>
                  <a:pt x="837390" y="1674780"/>
                </a:cubicBezTo>
                <a:lnTo>
                  <a:pt x="837390" y="1674779"/>
                </a:lnTo>
                <a:cubicBezTo>
                  <a:pt x="374912" y="1674779"/>
                  <a:pt x="0" y="1299867"/>
                  <a:pt x="0" y="837389"/>
                </a:cubicBezTo>
                <a:close/>
              </a:path>
            </a:pathLst>
          </a:custGeom>
          <a:blipFill>
            <a:blip r:embed="rId2"/>
            <a:stretch>
              <a:fillRect/>
            </a:stretch>
          </a:blipFill>
          <a:effectLst>
            <a:outerShdw blurRad="50800" dist="38100" dir="13500000" algn="br" rotWithShape="0">
              <a:prstClr val="black">
                <a:alpha val="10000"/>
              </a:prstClr>
            </a:outerShdw>
          </a:effectLst>
        </p:spPr>
        <p:txBody>
          <a:bodyPr wrap="square">
            <a:noAutofit/>
          </a:bodyPr>
          <a:lstStyle>
            <a:lvl1pPr marL="0" indent="0">
              <a:buFont typeface="Arial" panose="020B0604020202020204" pitchFamily="34" charset="0"/>
              <a:buNone/>
              <a:defRPr sz="1400"/>
            </a:lvl1pPr>
          </a:lstStyle>
          <a:p>
            <a:endParaRPr lang="en-US"/>
          </a:p>
        </p:txBody>
      </p:sp>
      <p:sp>
        <p:nvSpPr>
          <p:cNvPr id="19" name="Picture Placeholder 18">
            <a:extLst>
              <a:ext uri="{FF2B5EF4-FFF2-40B4-BE49-F238E27FC236}">
                <a16:creationId xmlns:a16="http://schemas.microsoft.com/office/drawing/2014/main" id="{0A79A2BB-5115-FD43-A5C9-8610AB633541}"/>
              </a:ext>
            </a:extLst>
          </p:cNvPr>
          <p:cNvSpPr>
            <a:spLocks noGrp="1"/>
          </p:cNvSpPr>
          <p:nvPr>
            <p:ph type="pic" sz="quarter" idx="15"/>
          </p:nvPr>
        </p:nvSpPr>
        <p:spPr>
          <a:xfrm>
            <a:off x="4286653" y="4103451"/>
            <a:ext cx="1674780" cy="1674780"/>
          </a:xfrm>
          <a:custGeom>
            <a:avLst/>
            <a:gdLst>
              <a:gd name="connsiteX0" fmla="*/ 837391 w 1674780"/>
              <a:gd name="connsiteY0" fmla="*/ 0 h 1674780"/>
              <a:gd name="connsiteX1" fmla="*/ 1674780 w 1674780"/>
              <a:gd name="connsiteY1" fmla="*/ 0 h 1674780"/>
              <a:gd name="connsiteX2" fmla="*/ 1674780 w 1674780"/>
              <a:gd name="connsiteY2" fmla="*/ 837390 h 1674780"/>
              <a:gd name="connsiteX3" fmla="*/ 837390 w 1674780"/>
              <a:gd name="connsiteY3" fmla="*/ 1674780 h 1674780"/>
              <a:gd name="connsiteX4" fmla="*/ 0 w 1674780"/>
              <a:gd name="connsiteY4" fmla="*/ 837390 h 1674780"/>
              <a:gd name="connsiteX5" fmla="*/ 1 w 1674780"/>
              <a:gd name="connsiteY5" fmla="*/ 837390 h 1674780"/>
              <a:gd name="connsiteX6" fmla="*/ 837391 w 1674780"/>
              <a:gd name="connsiteY6" fmla="*/ 0 h 1674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74780" h="1674780">
                <a:moveTo>
                  <a:pt x="837391" y="0"/>
                </a:moveTo>
                <a:lnTo>
                  <a:pt x="1674780" y="0"/>
                </a:lnTo>
                <a:lnTo>
                  <a:pt x="1674780" y="837390"/>
                </a:lnTo>
                <a:cubicBezTo>
                  <a:pt x="1674780" y="1299868"/>
                  <a:pt x="1299868" y="1674780"/>
                  <a:pt x="837390" y="1674780"/>
                </a:cubicBezTo>
                <a:cubicBezTo>
                  <a:pt x="374912" y="1674780"/>
                  <a:pt x="0" y="1299868"/>
                  <a:pt x="0" y="837390"/>
                </a:cubicBezTo>
                <a:lnTo>
                  <a:pt x="1" y="837390"/>
                </a:lnTo>
                <a:cubicBezTo>
                  <a:pt x="1" y="374912"/>
                  <a:pt x="374913" y="0"/>
                  <a:pt x="837391" y="0"/>
                </a:cubicBezTo>
                <a:close/>
              </a:path>
            </a:pathLst>
          </a:custGeom>
          <a:blipFill>
            <a:blip r:embed="rId2"/>
            <a:stretch>
              <a:fillRect/>
            </a:stretch>
          </a:blipFill>
          <a:effectLst>
            <a:outerShdw blurRad="50800" dist="38100" dir="18900000" algn="bl" rotWithShape="0">
              <a:prstClr val="black">
                <a:alpha val="10000"/>
              </a:prstClr>
            </a:outerShdw>
          </a:effectLst>
        </p:spPr>
        <p:txBody>
          <a:bodyPr wrap="square">
            <a:noAutofit/>
          </a:bodyPr>
          <a:lstStyle>
            <a:lvl1pPr marL="0" indent="0">
              <a:buFont typeface="Arial" panose="020B0604020202020204" pitchFamily="34" charset="0"/>
              <a:buNone/>
              <a:defRPr sz="1400"/>
            </a:lvl1pPr>
          </a:lstStyle>
          <a:p>
            <a:endParaRPr lang="en-US"/>
          </a:p>
        </p:txBody>
      </p:sp>
      <p:sp>
        <p:nvSpPr>
          <p:cNvPr id="16" name="Picture Placeholder 15">
            <a:extLst>
              <a:ext uri="{FF2B5EF4-FFF2-40B4-BE49-F238E27FC236}">
                <a16:creationId xmlns:a16="http://schemas.microsoft.com/office/drawing/2014/main" id="{14B23B1E-B03A-7849-AD42-FAB66EA78E97}"/>
              </a:ext>
            </a:extLst>
          </p:cNvPr>
          <p:cNvSpPr>
            <a:spLocks noGrp="1"/>
          </p:cNvSpPr>
          <p:nvPr>
            <p:ph type="pic" sz="quarter" idx="14"/>
          </p:nvPr>
        </p:nvSpPr>
        <p:spPr>
          <a:xfrm>
            <a:off x="6237479" y="2169877"/>
            <a:ext cx="1674780" cy="1674780"/>
          </a:xfrm>
          <a:custGeom>
            <a:avLst/>
            <a:gdLst>
              <a:gd name="connsiteX0" fmla="*/ 837390 w 1674780"/>
              <a:gd name="connsiteY0" fmla="*/ 0 h 1674780"/>
              <a:gd name="connsiteX1" fmla="*/ 1674780 w 1674780"/>
              <a:gd name="connsiteY1" fmla="*/ 837390 h 1674780"/>
              <a:gd name="connsiteX2" fmla="*/ 837390 w 1674780"/>
              <a:gd name="connsiteY2" fmla="*/ 1674780 h 1674780"/>
              <a:gd name="connsiteX3" fmla="*/ 0 w 1674780"/>
              <a:gd name="connsiteY3" fmla="*/ 1674780 h 1674780"/>
              <a:gd name="connsiteX4" fmla="*/ 0 w 1674780"/>
              <a:gd name="connsiteY4" fmla="*/ 837391 h 1674780"/>
              <a:gd name="connsiteX5" fmla="*/ 837390 w 1674780"/>
              <a:gd name="connsiteY5" fmla="*/ 1 h 1674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4780" h="1674780">
                <a:moveTo>
                  <a:pt x="837390" y="0"/>
                </a:moveTo>
                <a:cubicBezTo>
                  <a:pt x="1299868" y="0"/>
                  <a:pt x="1674780" y="374912"/>
                  <a:pt x="1674780" y="837390"/>
                </a:cubicBezTo>
                <a:cubicBezTo>
                  <a:pt x="1674780" y="1299868"/>
                  <a:pt x="1299868" y="1674780"/>
                  <a:pt x="837390" y="1674780"/>
                </a:cubicBezTo>
                <a:lnTo>
                  <a:pt x="0" y="1674780"/>
                </a:lnTo>
                <a:lnTo>
                  <a:pt x="0" y="837391"/>
                </a:lnTo>
                <a:cubicBezTo>
                  <a:pt x="0" y="374913"/>
                  <a:pt x="374912" y="1"/>
                  <a:pt x="837390" y="1"/>
                </a:cubicBezTo>
                <a:close/>
              </a:path>
            </a:pathLst>
          </a:custGeom>
          <a:blipFill>
            <a:blip r:embed="rId2"/>
            <a:stretch>
              <a:fillRect/>
            </a:stretch>
          </a:blipFill>
          <a:effectLst>
            <a:outerShdw blurRad="50800" dist="38100" dir="8100000" algn="tr" rotWithShape="0">
              <a:prstClr val="black">
                <a:alpha val="10000"/>
              </a:prstClr>
            </a:outerShdw>
          </a:effectLst>
        </p:spPr>
        <p:txBody>
          <a:bodyPr wrap="square">
            <a:noAutofit/>
          </a:bodyPr>
          <a:lstStyle>
            <a:lvl1pPr marL="0" indent="0">
              <a:buFont typeface="Arial" panose="020B0604020202020204" pitchFamily="34" charset="0"/>
              <a:buNone/>
              <a:defRPr sz="1400"/>
            </a:lvl1pPr>
          </a:lstStyle>
          <a:p>
            <a:endParaRPr lang="en-US"/>
          </a:p>
        </p:txBody>
      </p:sp>
      <p:sp>
        <p:nvSpPr>
          <p:cNvPr id="13" name="Picture Placeholder 12">
            <a:extLst>
              <a:ext uri="{FF2B5EF4-FFF2-40B4-BE49-F238E27FC236}">
                <a16:creationId xmlns:a16="http://schemas.microsoft.com/office/drawing/2014/main" id="{1334437B-C663-A944-9E8A-7EBC6A7D973A}"/>
              </a:ext>
            </a:extLst>
          </p:cNvPr>
          <p:cNvSpPr>
            <a:spLocks noGrp="1"/>
          </p:cNvSpPr>
          <p:nvPr>
            <p:ph type="pic" sz="quarter" idx="13"/>
          </p:nvPr>
        </p:nvSpPr>
        <p:spPr>
          <a:xfrm>
            <a:off x="4286654" y="2169877"/>
            <a:ext cx="1674780" cy="1674780"/>
          </a:xfrm>
          <a:custGeom>
            <a:avLst/>
            <a:gdLst>
              <a:gd name="connsiteX0" fmla="*/ 837390 w 1674780"/>
              <a:gd name="connsiteY0" fmla="*/ 0 h 1674780"/>
              <a:gd name="connsiteX1" fmla="*/ 837390 w 1674780"/>
              <a:gd name="connsiteY1" fmla="*/ 1 h 1674780"/>
              <a:gd name="connsiteX2" fmla="*/ 1674780 w 1674780"/>
              <a:gd name="connsiteY2" fmla="*/ 837391 h 1674780"/>
              <a:gd name="connsiteX3" fmla="*/ 1674780 w 1674780"/>
              <a:gd name="connsiteY3" fmla="*/ 1674780 h 1674780"/>
              <a:gd name="connsiteX4" fmla="*/ 837390 w 1674780"/>
              <a:gd name="connsiteY4" fmla="*/ 1674780 h 1674780"/>
              <a:gd name="connsiteX5" fmla="*/ 0 w 1674780"/>
              <a:gd name="connsiteY5" fmla="*/ 837390 h 1674780"/>
              <a:gd name="connsiteX6" fmla="*/ 837390 w 1674780"/>
              <a:gd name="connsiteY6" fmla="*/ 0 h 1674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74780" h="1674780">
                <a:moveTo>
                  <a:pt x="837390" y="0"/>
                </a:moveTo>
                <a:lnTo>
                  <a:pt x="837390" y="1"/>
                </a:lnTo>
                <a:cubicBezTo>
                  <a:pt x="1299868" y="1"/>
                  <a:pt x="1674780" y="374913"/>
                  <a:pt x="1674780" y="837391"/>
                </a:cubicBezTo>
                <a:lnTo>
                  <a:pt x="1674780" y="1674780"/>
                </a:lnTo>
                <a:lnTo>
                  <a:pt x="837390" y="1674780"/>
                </a:lnTo>
                <a:cubicBezTo>
                  <a:pt x="374912" y="1674780"/>
                  <a:pt x="0" y="1299868"/>
                  <a:pt x="0" y="837390"/>
                </a:cubicBezTo>
                <a:cubicBezTo>
                  <a:pt x="0" y="374912"/>
                  <a:pt x="374912" y="0"/>
                  <a:pt x="837390" y="0"/>
                </a:cubicBezTo>
                <a:close/>
              </a:path>
            </a:pathLst>
          </a:custGeom>
          <a:blipFill>
            <a:blip r:embed="rId2"/>
            <a:stretch>
              <a:fillRect/>
            </a:stretch>
          </a:blipFill>
          <a:effectLst>
            <a:outerShdw blurRad="50800" dist="38100" dir="2700000" algn="tl" rotWithShape="0">
              <a:prstClr val="black">
                <a:alpha val="10000"/>
              </a:prstClr>
            </a:outerShdw>
          </a:effectLst>
        </p:spPr>
        <p:txBody>
          <a:bodyPr wrap="square">
            <a:noAutofit/>
          </a:bodyPr>
          <a:lstStyle>
            <a:lvl1pPr marL="0" indent="0">
              <a:buFont typeface="Arial" panose="020B0604020202020204" pitchFamily="34" charset="0"/>
              <a:buNone/>
              <a:defRPr sz="1400"/>
            </a:lvl1pPr>
          </a:lstStyle>
          <a:p>
            <a:endParaRPr lang="en-US"/>
          </a:p>
        </p:txBody>
      </p:sp>
      <p:sp>
        <p:nvSpPr>
          <p:cNvPr id="3" name="Date Placeholder 2">
            <a:extLst>
              <a:ext uri="{FF2B5EF4-FFF2-40B4-BE49-F238E27FC236}">
                <a16:creationId xmlns:a16="http://schemas.microsoft.com/office/drawing/2014/main" id="{508DCBFA-64D9-A948-BD55-F5BD53A45199}"/>
              </a:ext>
            </a:extLst>
          </p:cNvPr>
          <p:cNvSpPr>
            <a:spLocks noGrp="1"/>
          </p:cNvSpPr>
          <p:nvPr>
            <p:ph type="dt" sz="half" idx="10"/>
          </p:nvPr>
        </p:nvSpPr>
        <p:spPr/>
        <p:txBody>
          <a:bodyPr/>
          <a:lstStyle/>
          <a:p>
            <a:fld id="{6A0C4EFF-7BB9-A045-B777-5D40845EB54B}" type="datetimeFigureOut">
              <a:rPr lang="en-US" smtClean="0"/>
              <a:t>4/15/2020</a:t>
            </a:fld>
            <a:endParaRPr lang="en-US" dirty="0"/>
          </a:p>
        </p:txBody>
      </p:sp>
      <p:sp>
        <p:nvSpPr>
          <p:cNvPr id="4" name="Footer Placeholder 3">
            <a:extLst>
              <a:ext uri="{FF2B5EF4-FFF2-40B4-BE49-F238E27FC236}">
                <a16:creationId xmlns:a16="http://schemas.microsoft.com/office/drawing/2014/main" id="{6F023DA2-804F-AB42-A88C-33FEF9FEB90E}"/>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6824D2F5-E6C4-1546-8744-62A448ADC878}"/>
              </a:ext>
            </a:extLst>
          </p:cNvPr>
          <p:cNvSpPr>
            <a:spLocks noGrp="1"/>
          </p:cNvSpPr>
          <p:nvPr>
            <p:ph type="sldNum" sz="quarter" idx="12"/>
          </p:nvPr>
        </p:nvSpPr>
        <p:spPr/>
        <p:txBody>
          <a:bodyPr/>
          <a:lstStyle/>
          <a:p>
            <a:fld id="{3BA69586-E6B3-B646-96E5-E7A8350A3CCE}" type="slidenum">
              <a:rPr lang="en-US" smtClean="0"/>
              <a:pPr/>
              <a:t>‹#›</a:t>
            </a:fld>
            <a:endParaRPr lang="en-US" dirty="0"/>
          </a:p>
        </p:txBody>
      </p:sp>
    </p:spTree>
    <p:extLst>
      <p:ext uri="{BB962C8B-B14F-4D97-AF65-F5344CB8AC3E}">
        <p14:creationId xmlns:p14="http://schemas.microsoft.com/office/powerpoint/2010/main" val="39145749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32" name="Picture Placeholder 31">
            <a:extLst>
              <a:ext uri="{FF2B5EF4-FFF2-40B4-BE49-F238E27FC236}">
                <a16:creationId xmlns:a16="http://schemas.microsoft.com/office/drawing/2014/main" id="{94CC2A80-668F-1143-925C-032A86DE0D39}"/>
              </a:ext>
            </a:extLst>
          </p:cNvPr>
          <p:cNvSpPr>
            <a:spLocks noGrp="1"/>
          </p:cNvSpPr>
          <p:nvPr>
            <p:ph type="pic" sz="quarter" idx="18"/>
          </p:nvPr>
        </p:nvSpPr>
        <p:spPr>
          <a:xfrm>
            <a:off x="9415129" y="4591945"/>
            <a:ext cx="1041992" cy="1041992"/>
          </a:xfrm>
          <a:custGeom>
            <a:avLst/>
            <a:gdLst>
              <a:gd name="connsiteX0" fmla="*/ 520996 w 1041992"/>
              <a:gd name="connsiteY0" fmla="*/ 0 h 1041992"/>
              <a:gd name="connsiteX1" fmla="*/ 1041992 w 1041992"/>
              <a:gd name="connsiteY1" fmla="*/ 520996 h 1041992"/>
              <a:gd name="connsiteX2" fmla="*/ 520996 w 1041992"/>
              <a:gd name="connsiteY2" fmla="*/ 1041992 h 1041992"/>
              <a:gd name="connsiteX3" fmla="*/ 0 w 1041992"/>
              <a:gd name="connsiteY3" fmla="*/ 520996 h 1041992"/>
              <a:gd name="connsiteX4" fmla="*/ 520996 w 1041992"/>
              <a:gd name="connsiteY4" fmla="*/ 0 h 1041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992" h="1041992">
                <a:moveTo>
                  <a:pt x="520996" y="0"/>
                </a:moveTo>
                <a:cubicBezTo>
                  <a:pt x="808734" y="0"/>
                  <a:pt x="1041992" y="233258"/>
                  <a:pt x="1041992" y="520996"/>
                </a:cubicBezTo>
                <a:cubicBezTo>
                  <a:pt x="1041992" y="808734"/>
                  <a:pt x="808734" y="1041992"/>
                  <a:pt x="520996" y="1041992"/>
                </a:cubicBezTo>
                <a:cubicBezTo>
                  <a:pt x="233258" y="1041992"/>
                  <a:pt x="0" y="808734"/>
                  <a:pt x="0" y="520996"/>
                </a:cubicBezTo>
                <a:cubicBezTo>
                  <a:pt x="0" y="233258"/>
                  <a:pt x="233258" y="0"/>
                  <a:pt x="520996" y="0"/>
                </a:cubicBezTo>
                <a:close/>
              </a:path>
            </a:pathLst>
          </a:custGeom>
          <a:blipFill>
            <a:blip r:embed="rId2"/>
            <a:stretch>
              <a:fillRect/>
            </a:stretch>
          </a:blipFill>
          <a:effectLst>
            <a:outerShdw blurRad="63500" sx="101000" sy="101000" algn="ctr" rotWithShape="0">
              <a:prstClr val="black">
                <a:alpha val="10000"/>
              </a:prstClr>
            </a:outerShdw>
          </a:effectLst>
        </p:spPr>
        <p:txBody>
          <a:bodyPr wrap="square">
            <a:noAutofit/>
          </a:bodyPr>
          <a:lstStyle>
            <a:lvl1pPr marL="0" indent="0" algn="ctr">
              <a:buNone/>
              <a:defRPr sz="1050"/>
            </a:lvl1pPr>
          </a:lstStyle>
          <a:p>
            <a:endParaRPr lang="en-US"/>
          </a:p>
        </p:txBody>
      </p:sp>
      <p:sp>
        <p:nvSpPr>
          <p:cNvPr id="29" name="Picture Placeholder 28">
            <a:extLst>
              <a:ext uri="{FF2B5EF4-FFF2-40B4-BE49-F238E27FC236}">
                <a16:creationId xmlns:a16="http://schemas.microsoft.com/office/drawing/2014/main" id="{2DB064E6-38E4-794A-A508-9952BD8FF3D3}"/>
              </a:ext>
            </a:extLst>
          </p:cNvPr>
          <p:cNvSpPr>
            <a:spLocks noGrp="1"/>
          </p:cNvSpPr>
          <p:nvPr>
            <p:ph type="pic" sz="quarter" idx="17"/>
          </p:nvPr>
        </p:nvSpPr>
        <p:spPr>
          <a:xfrm>
            <a:off x="5576777" y="4591945"/>
            <a:ext cx="1041992" cy="1041992"/>
          </a:xfrm>
          <a:custGeom>
            <a:avLst/>
            <a:gdLst>
              <a:gd name="connsiteX0" fmla="*/ 520996 w 1041992"/>
              <a:gd name="connsiteY0" fmla="*/ 0 h 1041992"/>
              <a:gd name="connsiteX1" fmla="*/ 1041992 w 1041992"/>
              <a:gd name="connsiteY1" fmla="*/ 520996 h 1041992"/>
              <a:gd name="connsiteX2" fmla="*/ 520996 w 1041992"/>
              <a:gd name="connsiteY2" fmla="*/ 1041992 h 1041992"/>
              <a:gd name="connsiteX3" fmla="*/ 0 w 1041992"/>
              <a:gd name="connsiteY3" fmla="*/ 520996 h 1041992"/>
              <a:gd name="connsiteX4" fmla="*/ 520996 w 1041992"/>
              <a:gd name="connsiteY4" fmla="*/ 0 h 1041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992" h="1041992">
                <a:moveTo>
                  <a:pt x="520996" y="0"/>
                </a:moveTo>
                <a:cubicBezTo>
                  <a:pt x="808734" y="0"/>
                  <a:pt x="1041992" y="233258"/>
                  <a:pt x="1041992" y="520996"/>
                </a:cubicBezTo>
                <a:cubicBezTo>
                  <a:pt x="1041992" y="808734"/>
                  <a:pt x="808734" y="1041992"/>
                  <a:pt x="520996" y="1041992"/>
                </a:cubicBezTo>
                <a:cubicBezTo>
                  <a:pt x="233258" y="1041992"/>
                  <a:pt x="0" y="808734"/>
                  <a:pt x="0" y="520996"/>
                </a:cubicBezTo>
                <a:cubicBezTo>
                  <a:pt x="0" y="233258"/>
                  <a:pt x="233258" y="0"/>
                  <a:pt x="520996" y="0"/>
                </a:cubicBezTo>
                <a:close/>
              </a:path>
            </a:pathLst>
          </a:custGeom>
          <a:blipFill>
            <a:blip r:embed="rId2"/>
            <a:stretch>
              <a:fillRect/>
            </a:stretch>
          </a:blipFill>
          <a:effectLst>
            <a:outerShdw blurRad="63500" sx="101000" sy="101000" algn="ctr" rotWithShape="0">
              <a:prstClr val="black">
                <a:alpha val="10000"/>
              </a:prstClr>
            </a:outerShdw>
          </a:effectLst>
        </p:spPr>
        <p:txBody>
          <a:bodyPr wrap="square">
            <a:noAutofit/>
          </a:bodyPr>
          <a:lstStyle>
            <a:lvl1pPr marL="0" indent="0" algn="ctr">
              <a:buNone/>
              <a:defRPr sz="1050"/>
            </a:lvl1pPr>
          </a:lstStyle>
          <a:p>
            <a:endParaRPr lang="en-US"/>
          </a:p>
        </p:txBody>
      </p:sp>
      <p:sp>
        <p:nvSpPr>
          <p:cNvPr id="26" name="Picture Placeholder 25">
            <a:extLst>
              <a:ext uri="{FF2B5EF4-FFF2-40B4-BE49-F238E27FC236}">
                <a16:creationId xmlns:a16="http://schemas.microsoft.com/office/drawing/2014/main" id="{5F2788FD-DD73-6648-86F9-08D48A2A0CFE}"/>
              </a:ext>
            </a:extLst>
          </p:cNvPr>
          <p:cNvSpPr>
            <a:spLocks noGrp="1"/>
          </p:cNvSpPr>
          <p:nvPr>
            <p:ph type="pic" sz="quarter" idx="16"/>
          </p:nvPr>
        </p:nvSpPr>
        <p:spPr>
          <a:xfrm>
            <a:off x="1532861" y="4591945"/>
            <a:ext cx="1041992" cy="1041992"/>
          </a:xfrm>
          <a:custGeom>
            <a:avLst/>
            <a:gdLst>
              <a:gd name="connsiteX0" fmla="*/ 520996 w 1041992"/>
              <a:gd name="connsiteY0" fmla="*/ 0 h 1041992"/>
              <a:gd name="connsiteX1" fmla="*/ 1041992 w 1041992"/>
              <a:gd name="connsiteY1" fmla="*/ 520996 h 1041992"/>
              <a:gd name="connsiteX2" fmla="*/ 520996 w 1041992"/>
              <a:gd name="connsiteY2" fmla="*/ 1041992 h 1041992"/>
              <a:gd name="connsiteX3" fmla="*/ 0 w 1041992"/>
              <a:gd name="connsiteY3" fmla="*/ 520996 h 1041992"/>
              <a:gd name="connsiteX4" fmla="*/ 520996 w 1041992"/>
              <a:gd name="connsiteY4" fmla="*/ 0 h 1041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992" h="1041992">
                <a:moveTo>
                  <a:pt x="520996" y="0"/>
                </a:moveTo>
                <a:cubicBezTo>
                  <a:pt x="808734" y="0"/>
                  <a:pt x="1041992" y="233258"/>
                  <a:pt x="1041992" y="520996"/>
                </a:cubicBezTo>
                <a:cubicBezTo>
                  <a:pt x="1041992" y="808734"/>
                  <a:pt x="808734" y="1041992"/>
                  <a:pt x="520996" y="1041992"/>
                </a:cubicBezTo>
                <a:cubicBezTo>
                  <a:pt x="233258" y="1041992"/>
                  <a:pt x="0" y="808734"/>
                  <a:pt x="0" y="520996"/>
                </a:cubicBezTo>
                <a:cubicBezTo>
                  <a:pt x="0" y="233258"/>
                  <a:pt x="233258" y="0"/>
                  <a:pt x="520996" y="0"/>
                </a:cubicBezTo>
                <a:close/>
              </a:path>
            </a:pathLst>
          </a:custGeom>
          <a:blipFill>
            <a:blip r:embed="rId2"/>
            <a:stretch>
              <a:fillRect/>
            </a:stretch>
          </a:blipFill>
          <a:effectLst>
            <a:outerShdw blurRad="63500" sx="101000" sy="101000" algn="ctr" rotWithShape="0">
              <a:prstClr val="black">
                <a:alpha val="10000"/>
              </a:prstClr>
            </a:outerShdw>
          </a:effectLst>
        </p:spPr>
        <p:txBody>
          <a:bodyPr wrap="square">
            <a:noAutofit/>
          </a:bodyPr>
          <a:lstStyle>
            <a:lvl1pPr marL="0" indent="0" algn="ctr">
              <a:buNone/>
              <a:defRPr sz="1050"/>
            </a:lvl1pPr>
          </a:lstStyle>
          <a:p>
            <a:endParaRPr lang="en-US"/>
          </a:p>
        </p:txBody>
      </p:sp>
      <p:sp>
        <p:nvSpPr>
          <p:cNvPr id="23" name="Picture Placeholder 22">
            <a:extLst>
              <a:ext uri="{FF2B5EF4-FFF2-40B4-BE49-F238E27FC236}">
                <a16:creationId xmlns:a16="http://schemas.microsoft.com/office/drawing/2014/main" id="{D458EBC8-5B31-614A-892D-6A334A438E43}"/>
              </a:ext>
            </a:extLst>
          </p:cNvPr>
          <p:cNvSpPr>
            <a:spLocks noGrp="1"/>
          </p:cNvSpPr>
          <p:nvPr>
            <p:ph type="pic" sz="quarter" idx="15"/>
          </p:nvPr>
        </p:nvSpPr>
        <p:spPr>
          <a:xfrm>
            <a:off x="9415129" y="2243470"/>
            <a:ext cx="1041992" cy="1041992"/>
          </a:xfrm>
          <a:custGeom>
            <a:avLst/>
            <a:gdLst>
              <a:gd name="connsiteX0" fmla="*/ 520996 w 1041992"/>
              <a:gd name="connsiteY0" fmla="*/ 0 h 1041992"/>
              <a:gd name="connsiteX1" fmla="*/ 1041992 w 1041992"/>
              <a:gd name="connsiteY1" fmla="*/ 520996 h 1041992"/>
              <a:gd name="connsiteX2" fmla="*/ 520996 w 1041992"/>
              <a:gd name="connsiteY2" fmla="*/ 1041992 h 1041992"/>
              <a:gd name="connsiteX3" fmla="*/ 0 w 1041992"/>
              <a:gd name="connsiteY3" fmla="*/ 520996 h 1041992"/>
              <a:gd name="connsiteX4" fmla="*/ 520996 w 1041992"/>
              <a:gd name="connsiteY4" fmla="*/ 0 h 1041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992" h="1041992">
                <a:moveTo>
                  <a:pt x="520996" y="0"/>
                </a:moveTo>
                <a:cubicBezTo>
                  <a:pt x="808734" y="0"/>
                  <a:pt x="1041992" y="233258"/>
                  <a:pt x="1041992" y="520996"/>
                </a:cubicBezTo>
                <a:cubicBezTo>
                  <a:pt x="1041992" y="808734"/>
                  <a:pt x="808734" y="1041992"/>
                  <a:pt x="520996" y="1041992"/>
                </a:cubicBezTo>
                <a:cubicBezTo>
                  <a:pt x="233258" y="1041992"/>
                  <a:pt x="0" y="808734"/>
                  <a:pt x="0" y="520996"/>
                </a:cubicBezTo>
                <a:cubicBezTo>
                  <a:pt x="0" y="233258"/>
                  <a:pt x="233258" y="0"/>
                  <a:pt x="520996" y="0"/>
                </a:cubicBezTo>
                <a:close/>
              </a:path>
            </a:pathLst>
          </a:custGeom>
          <a:blipFill>
            <a:blip r:embed="rId2"/>
            <a:stretch>
              <a:fillRect/>
            </a:stretch>
          </a:blipFill>
          <a:effectLst>
            <a:outerShdw blurRad="63500" sx="101000" sy="101000" algn="ctr" rotWithShape="0">
              <a:prstClr val="black">
                <a:alpha val="10000"/>
              </a:prstClr>
            </a:outerShdw>
          </a:effectLst>
        </p:spPr>
        <p:txBody>
          <a:bodyPr wrap="square">
            <a:noAutofit/>
          </a:bodyPr>
          <a:lstStyle>
            <a:lvl1pPr marL="0" indent="0" algn="ctr">
              <a:buNone/>
              <a:defRPr sz="1050"/>
            </a:lvl1pPr>
          </a:lstStyle>
          <a:p>
            <a:endParaRPr lang="en-US"/>
          </a:p>
        </p:txBody>
      </p:sp>
      <p:sp>
        <p:nvSpPr>
          <p:cNvPr id="20" name="Picture Placeholder 19">
            <a:extLst>
              <a:ext uri="{FF2B5EF4-FFF2-40B4-BE49-F238E27FC236}">
                <a16:creationId xmlns:a16="http://schemas.microsoft.com/office/drawing/2014/main" id="{8992D83E-1419-9E4D-9267-222BCCABCF21}"/>
              </a:ext>
            </a:extLst>
          </p:cNvPr>
          <p:cNvSpPr>
            <a:spLocks noGrp="1"/>
          </p:cNvSpPr>
          <p:nvPr>
            <p:ph type="pic" sz="quarter" idx="14"/>
          </p:nvPr>
        </p:nvSpPr>
        <p:spPr>
          <a:xfrm>
            <a:off x="5576777" y="2243469"/>
            <a:ext cx="1041992" cy="1041992"/>
          </a:xfrm>
          <a:custGeom>
            <a:avLst/>
            <a:gdLst>
              <a:gd name="connsiteX0" fmla="*/ 520996 w 1041992"/>
              <a:gd name="connsiteY0" fmla="*/ 0 h 1041992"/>
              <a:gd name="connsiteX1" fmla="*/ 1041992 w 1041992"/>
              <a:gd name="connsiteY1" fmla="*/ 520996 h 1041992"/>
              <a:gd name="connsiteX2" fmla="*/ 520996 w 1041992"/>
              <a:gd name="connsiteY2" fmla="*/ 1041992 h 1041992"/>
              <a:gd name="connsiteX3" fmla="*/ 0 w 1041992"/>
              <a:gd name="connsiteY3" fmla="*/ 520996 h 1041992"/>
              <a:gd name="connsiteX4" fmla="*/ 520996 w 1041992"/>
              <a:gd name="connsiteY4" fmla="*/ 0 h 1041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992" h="1041992">
                <a:moveTo>
                  <a:pt x="520996" y="0"/>
                </a:moveTo>
                <a:cubicBezTo>
                  <a:pt x="808734" y="0"/>
                  <a:pt x="1041992" y="233258"/>
                  <a:pt x="1041992" y="520996"/>
                </a:cubicBezTo>
                <a:cubicBezTo>
                  <a:pt x="1041992" y="808734"/>
                  <a:pt x="808734" y="1041992"/>
                  <a:pt x="520996" y="1041992"/>
                </a:cubicBezTo>
                <a:cubicBezTo>
                  <a:pt x="233258" y="1041992"/>
                  <a:pt x="0" y="808734"/>
                  <a:pt x="0" y="520996"/>
                </a:cubicBezTo>
                <a:cubicBezTo>
                  <a:pt x="0" y="233258"/>
                  <a:pt x="233258" y="0"/>
                  <a:pt x="520996" y="0"/>
                </a:cubicBezTo>
                <a:close/>
              </a:path>
            </a:pathLst>
          </a:custGeom>
          <a:blipFill>
            <a:blip r:embed="rId2"/>
            <a:stretch>
              <a:fillRect/>
            </a:stretch>
          </a:blipFill>
          <a:effectLst>
            <a:outerShdw blurRad="63500" sx="101000" sy="101000" algn="ctr" rotWithShape="0">
              <a:prstClr val="black">
                <a:alpha val="10000"/>
              </a:prstClr>
            </a:outerShdw>
          </a:effectLst>
        </p:spPr>
        <p:txBody>
          <a:bodyPr wrap="square">
            <a:noAutofit/>
          </a:bodyPr>
          <a:lstStyle>
            <a:lvl1pPr marL="0" indent="0" algn="ctr">
              <a:buNone/>
              <a:defRPr sz="1050"/>
            </a:lvl1pPr>
          </a:lstStyle>
          <a:p>
            <a:endParaRPr lang="en-US"/>
          </a:p>
        </p:txBody>
      </p:sp>
      <p:sp>
        <p:nvSpPr>
          <p:cNvPr id="3" name="Date Placeholder 2">
            <a:extLst>
              <a:ext uri="{FF2B5EF4-FFF2-40B4-BE49-F238E27FC236}">
                <a16:creationId xmlns:a16="http://schemas.microsoft.com/office/drawing/2014/main" id="{C34F8609-62B0-5349-A1B9-08928CAC3ED6}"/>
              </a:ext>
            </a:extLst>
          </p:cNvPr>
          <p:cNvSpPr>
            <a:spLocks noGrp="1"/>
          </p:cNvSpPr>
          <p:nvPr>
            <p:ph type="dt" sz="half" idx="10"/>
          </p:nvPr>
        </p:nvSpPr>
        <p:spPr/>
        <p:txBody>
          <a:bodyPr/>
          <a:lstStyle/>
          <a:p>
            <a:fld id="{6A0C4EFF-7BB9-A045-B777-5D40845EB54B}" type="datetimeFigureOut">
              <a:rPr lang="en-US" smtClean="0"/>
              <a:t>4/15/2020</a:t>
            </a:fld>
            <a:endParaRPr lang="en-US" dirty="0"/>
          </a:p>
        </p:txBody>
      </p:sp>
      <p:sp>
        <p:nvSpPr>
          <p:cNvPr id="4" name="Footer Placeholder 3">
            <a:extLst>
              <a:ext uri="{FF2B5EF4-FFF2-40B4-BE49-F238E27FC236}">
                <a16:creationId xmlns:a16="http://schemas.microsoft.com/office/drawing/2014/main" id="{46AF4B94-0A0C-FF49-8EF0-678C76FD6835}"/>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B0E8B2FB-A515-9348-8BCC-3D28673901E5}"/>
              </a:ext>
            </a:extLst>
          </p:cNvPr>
          <p:cNvSpPr>
            <a:spLocks noGrp="1"/>
          </p:cNvSpPr>
          <p:nvPr>
            <p:ph type="sldNum" sz="quarter" idx="12"/>
          </p:nvPr>
        </p:nvSpPr>
        <p:spPr/>
        <p:txBody>
          <a:bodyPr/>
          <a:lstStyle/>
          <a:p>
            <a:fld id="{3BA69586-E6B3-B646-96E5-E7A8350A3CCE}" type="slidenum">
              <a:rPr lang="en-US" smtClean="0"/>
              <a:pPr/>
              <a:t>‹#›</a:t>
            </a:fld>
            <a:endParaRPr lang="en-US" dirty="0"/>
          </a:p>
        </p:txBody>
      </p:sp>
      <p:sp>
        <p:nvSpPr>
          <p:cNvPr id="17" name="Picture Placeholder 16">
            <a:extLst>
              <a:ext uri="{FF2B5EF4-FFF2-40B4-BE49-F238E27FC236}">
                <a16:creationId xmlns:a16="http://schemas.microsoft.com/office/drawing/2014/main" id="{DE9C6743-9B20-254C-812C-8784C7468A50}"/>
              </a:ext>
            </a:extLst>
          </p:cNvPr>
          <p:cNvSpPr>
            <a:spLocks noGrp="1"/>
          </p:cNvSpPr>
          <p:nvPr>
            <p:ph type="pic" sz="quarter" idx="13"/>
          </p:nvPr>
        </p:nvSpPr>
        <p:spPr>
          <a:xfrm>
            <a:off x="1532861" y="2243470"/>
            <a:ext cx="1041992" cy="1041992"/>
          </a:xfrm>
          <a:custGeom>
            <a:avLst/>
            <a:gdLst>
              <a:gd name="connsiteX0" fmla="*/ 520996 w 1041992"/>
              <a:gd name="connsiteY0" fmla="*/ 0 h 1041992"/>
              <a:gd name="connsiteX1" fmla="*/ 1041992 w 1041992"/>
              <a:gd name="connsiteY1" fmla="*/ 520996 h 1041992"/>
              <a:gd name="connsiteX2" fmla="*/ 520996 w 1041992"/>
              <a:gd name="connsiteY2" fmla="*/ 1041992 h 1041992"/>
              <a:gd name="connsiteX3" fmla="*/ 0 w 1041992"/>
              <a:gd name="connsiteY3" fmla="*/ 520996 h 1041992"/>
              <a:gd name="connsiteX4" fmla="*/ 520996 w 1041992"/>
              <a:gd name="connsiteY4" fmla="*/ 0 h 1041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992" h="1041992">
                <a:moveTo>
                  <a:pt x="520996" y="0"/>
                </a:moveTo>
                <a:cubicBezTo>
                  <a:pt x="808734" y="0"/>
                  <a:pt x="1041992" y="233258"/>
                  <a:pt x="1041992" y="520996"/>
                </a:cubicBezTo>
                <a:cubicBezTo>
                  <a:pt x="1041992" y="808734"/>
                  <a:pt x="808734" y="1041992"/>
                  <a:pt x="520996" y="1041992"/>
                </a:cubicBezTo>
                <a:cubicBezTo>
                  <a:pt x="233258" y="1041992"/>
                  <a:pt x="0" y="808734"/>
                  <a:pt x="0" y="520996"/>
                </a:cubicBezTo>
                <a:cubicBezTo>
                  <a:pt x="0" y="233258"/>
                  <a:pt x="233258" y="0"/>
                  <a:pt x="520996" y="0"/>
                </a:cubicBezTo>
                <a:close/>
              </a:path>
            </a:pathLst>
          </a:custGeom>
          <a:blipFill>
            <a:blip r:embed="rId2"/>
            <a:stretch>
              <a:fillRect/>
            </a:stretch>
          </a:blipFill>
          <a:effectLst>
            <a:outerShdw blurRad="63500" sx="101000" sy="101000" algn="ctr" rotWithShape="0">
              <a:prstClr val="black">
                <a:alpha val="10000"/>
              </a:prstClr>
            </a:outerShdw>
          </a:effectLst>
        </p:spPr>
        <p:txBody>
          <a:bodyPr wrap="square">
            <a:noAutofit/>
          </a:bodyPr>
          <a:lstStyle>
            <a:lvl1pPr marL="0" indent="0" algn="ctr">
              <a:buNone/>
              <a:defRPr sz="1050"/>
            </a:lvl1pPr>
          </a:lstStyle>
          <a:p>
            <a:endParaRPr lang="en-US"/>
          </a:p>
        </p:txBody>
      </p:sp>
    </p:spTree>
    <p:extLst>
      <p:ext uri="{BB962C8B-B14F-4D97-AF65-F5344CB8AC3E}">
        <p14:creationId xmlns:p14="http://schemas.microsoft.com/office/powerpoint/2010/main" val="5014225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35F48619-179A-2B41-8E56-6851778F78BC}"/>
              </a:ext>
            </a:extLst>
          </p:cNvPr>
          <p:cNvSpPr>
            <a:spLocks noGrp="1"/>
          </p:cNvSpPr>
          <p:nvPr>
            <p:ph type="dt" sz="half" idx="10"/>
          </p:nvPr>
        </p:nvSpPr>
        <p:spPr/>
        <p:txBody>
          <a:bodyPr/>
          <a:lstStyle/>
          <a:p>
            <a:fld id="{6A0C4EFF-7BB9-A045-B777-5D40845EB54B}" type="datetimeFigureOut">
              <a:rPr lang="en-US" smtClean="0"/>
              <a:t>4/15/2020</a:t>
            </a:fld>
            <a:endParaRPr lang="en-US" dirty="0"/>
          </a:p>
        </p:txBody>
      </p:sp>
      <p:sp>
        <p:nvSpPr>
          <p:cNvPr id="4" name="Footer Placeholder 3">
            <a:extLst>
              <a:ext uri="{FF2B5EF4-FFF2-40B4-BE49-F238E27FC236}">
                <a16:creationId xmlns:a16="http://schemas.microsoft.com/office/drawing/2014/main" id="{69118B1F-95BF-2247-BB67-CD0207276111}"/>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0EE721F6-EDFA-484D-92FA-10F0379511CC}"/>
              </a:ext>
            </a:extLst>
          </p:cNvPr>
          <p:cNvSpPr>
            <a:spLocks noGrp="1"/>
          </p:cNvSpPr>
          <p:nvPr>
            <p:ph type="sldNum" sz="quarter" idx="12"/>
          </p:nvPr>
        </p:nvSpPr>
        <p:spPr/>
        <p:txBody>
          <a:bodyPr/>
          <a:lstStyle/>
          <a:p>
            <a:fld id="{3BA69586-E6B3-B646-96E5-E7A8350A3CCE}" type="slidenum">
              <a:rPr lang="en-US" smtClean="0"/>
              <a:pPr/>
              <a:t>‹#›</a:t>
            </a:fld>
            <a:endParaRPr lang="en-US" dirty="0"/>
          </a:p>
        </p:txBody>
      </p:sp>
      <p:sp>
        <p:nvSpPr>
          <p:cNvPr id="11" name="Picture Placeholder 10">
            <a:extLst>
              <a:ext uri="{FF2B5EF4-FFF2-40B4-BE49-F238E27FC236}">
                <a16:creationId xmlns:a16="http://schemas.microsoft.com/office/drawing/2014/main" id="{2A20CC31-0942-F24F-BC1D-B50C4931D689}"/>
              </a:ext>
            </a:extLst>
          </p:cNvPr>
          <p:cNvSpPr>
            <a:spLocks noGrp="1"/>
          </p:cNvSpPr>
          <p:nvPr>
            <p:ph type="pic" sz="quarter" idx="13"/>
          </p:nvPr>
        </p:nvSpPr>
        <p:spPr>
          <a:xfrm>
            <a:off x="4983869" y="1447439"/>
            <a:ext cx="6773371" cy="5410562"/>
          </a:xfrm>
          <a:custGeom>
            <a:avLst/>
            <a:gdLst>
              <a:gd name="connsiteX0" fmla="*/ 3277347 w 6773371"/>
              <a:gd name="connsiteY0" fmla="*/ 3731569 h 5410562"/>
              <a:gd name="connsiteX1" fmla="*/ 5081438 w 6773371"/>
              <a:gd name="connsiteY1" fmla="*/ 3731569 h 5410562"/>
              <a:gd name="connsiteX2" fmla="*/ 5764806 w 6773371"/>
              <a:gd name="connsiteY2" fmla="*/ 5098304 h 5410562"/>
              <a:gd name="connsiteX3" fmla="*/ 5608677 w 6773371"/>
              <a:gd name="connsiteY3" fmla="*/ 5410562 h 5410562"/>
              <a:gd name="connsiteX4" fmla="*/ 2750108 w 6773371"/>
              <a:gd name="connsiteY4" fmla="*/ 5410562 h 5410562"/>
              <a:gd name="connsiteX5" fmla="*/ 2593979 w 6773371"/>
              <a:gd name="connsiteY5" fmla="*/ 5098304 h 5410562"/>
              <a:gd name="connsiteX6" fmla="*/ 5441814 w 6773371"/>
              <a:gd name="connsiteY6" fmla="*/ 3027285 h 5410562"/>
              <a:gd name="connsiteX7" fmla="*/ 6270027 w 6773371"/>
              <a:gd name="connsiteY7" fmla="*/ 3027285 h 5410562"/>
              <a:gd name="connsiteX8" fmla="*/ 6583744 w 6773371"/>
              <a:gd name="connsiteY8" fmla="*/ 3654719 h 5410562"/>
              <a:gd name="connsiteX9" fmla="*/ 6270027 w 6773371"/>
              <a:gd name="connsiteY9" fmla="*/ 4282153 h 5410562"/>
              <a:gd name="connsiteX10" fmla="*/ 5441814 w 6773371"/>
              <a:gd name="connsiteY10" fmla="*/ 4282153 h 5410562"/>
              <a:gd name="connsiteX11" fmla="*/ 5128097 w 6773371"/>
              <a:gd name="connsiteY11" fmla="*/ 3654719 h 5410562"/>
              <a:gd name="connsiteX12" fmla="*/ 683368 w 6773371"/>
              <a:gd name="connsiteY12" fmla="*/ 2287984 h 5410562"/>
              <a:gd name="connsiteX13" fmla="*/ 2487459 w 6773371"/>
              <a:gd name="connsiteY13" fmla="*/ 2287984 h 5410562"/>
              <a:gd name="connsiteX14" fmla="*/ 3170827 w 6773371"/>
              <a:gd name="connsiteY14" fmla="*/ 3654719 h 5410562"/>
              <a:gd name="connsiteX15" fmla="*/ 2487459 w 6773371"/>
              <a:gd name="connsiteY15" fmla="*/ 5021454 h 5410562"/>
              <a:gd name="connsiteX16" fmla="*/ 683368 w 6773371"/>
              <a:gd name="connsiteY16" fmla="*/ 5021454 h 5410562"/>
              <a:gd name="connsiteX17" fmla="*/ 0 w 6773371"/>
              <a:gd name="connsiteY17" fmla="*/ 3654719 h 5410562"/>
              <a:gd name="connsiteX18" fmla="*/ 3277347 w 6773371"/>
              <a:gd name="connsiteY18" fmla="*/ 852181 h 5410562"/>
              <a:gd name="connsiteX19" fmla="*/ 5081438 w 6773371"/>
              <a:gd name="connsiteY19" fmla="*/ 852181 h 5410562"/>
              <a:gd name="connsiteX20" fmla="*/ 5764806 w 6773371"/>
              <a:gd name="connsiteY20" fmla="*/ 2218916 h 5410562"/>
              <a:gd name="connsiteX21" fmla="*/ 5081438 w 6773371"/>
              <a:gd name="connsiteY21" fmla="*/ 3585651 h 5410562"/>
              <a:gd name="connsiteX22" fmla="*/ 3277347 w 6773371"/>
              <a:gd name="connsiteY22" fmla="*/ 3585651 h 5410562"/>
              <a:gd name="connsiteX23" fmla="*/ 2593979 w 6773371"/>
              <a:gd name="connsiteY23" fmla="*/ 2218916 h 5410562"/>
              <a:gd name="connsiteX24" fmla="*/ 5631441 w 6773371"/>
              <a:gd name="connsiteY24" fmla="*/ 546731 h 5410562"/>
              <a:gd name="connsiteX25" fmla="*/ 6459654 w 6773371"/>
              <a:gd name="connsiteY25" fmla="*/ 546731 h 5410562"/>
              <a:gd name="connsiteX26" fmla="*/ 6773371 w 6773371"/>
              <a:gd name="connsiteY26" fmla="*/ 1174165 h 5410562"/>
              <a:gd name="connsiteX27" fmla="*/ 6459654 w 6773371"/>
              <a:gd name="connsiteY27" fmla="*/ 1801599 h 5410562"/>
              <a:gd name="connsiteX28" fmla="*/ 5631441 w 6773371"/>
              <a:gd name="connsiteY28" fmla="*/ 1801599 h 5410562"/>
              <a:gd name="connsiteX29" fmla="*/ 5317724 w 6773371"/>
              <a:gd name="connsiteY29" fmla="*/ 1174165 h 5410562"/>
              <a:gd name="connsiteX30" fmla="*/ 1074002 w 6773371"/>
              <a:gd name="connsiteY30" fmla="*/ 0 h 5410562"/>
              <a:gd name="connsiteX31" fmla="*/ 2528640 w 6773371"/>
              <a:gd name="connsiteY31" fmla="*/ 0 h 5410562"/>
              <a:gd name="connsiteX32" fmla="*/ 3079639 w 6773371"/>
              <a:gd name="connsiteY32" fmla="*/ 1101997 h 5410562"/>
              <a:gd name="connsiteX33" fmla="*/ 2528640 w 6773371"/>
              <a:gd name="connsiteY33" fmla="*/ 2203994 h 5410562"/>
              <a:gd name="connsiteX34" fmla="*/ 1074002 w 6773371"/>
              <a:gd name="connsiteY34" fmla="*/ 2203994 h 5410562"/>
              <a:gd name="connsiteX35" fmla="*/ 523003 w 6773371"/>
              <a:gd name="connsiteY35" fmla="*/ 1101997 h 5410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773371" h="5410562">
                <a:moveTo>
                  <a:pt x="3277347" y="3731569"/>
                </a:moveTo>
                <a:lnTo>
                  <a:pt x="5081438" y="3731569"/>
                </a:lnTo>
                <a:lnTo>
                  <a:pt x="5764806" y="5098304"/>
                </a:lnTo>
                <a:lnTo>
                  <a:pt x="5608677" y="5410562"/>
                </a:lnTo>
                <a:lnTo>
                  <a:pt x="2750108" y="5410562"/>
                </a:lnTo>
                <a:lnTo>
                  <a:pt x="2593979" y="5098304"/>
                </a:lnTo>
                <a:close/>
                <a:moveTo>
                  <a:pt x="5441814" y="3027285"/>
                </a:moveTo>
                <a:lnTo>
                  <a:pt x="6270027" y="3027285"/>
                </a:lnTo>
                <a:lnTo>
                  <a:pt x="6583744" y="3654719"/>
                </a:lnTo>
                <a:lnTo>
                  <a:pt x="6270027" y="4282153"/>
                </a:lnTo>
                <a:lnTo>
                  <a:pt x="5441814" y="4282153"/>
                </a:lnTo>
                <a:lnTo>
                  <a:pt x="5128097" y="3654719"/>
                </a:lnTo>
                <a:close/>
                <a:moveTo>
                  <a:pt x="683368" y="2287984"/>
                </a:moveTo>
                <a:lnTo>
                  <a:pt x="2487459" y="2287984"/>
                </a:lnTo>
                <a:lnTo>
                  <a:pt x="3170827" y="3654719"/>
                </a:lnTo>
                <a:lnTo>
                  <a:pt x="2487459" y="5021454"/>
                </a:lnTo>
                <a:lnTo>
                  <a:pt x="683368" y="5021454"/>
                </a:lnTo>
                <a:lnTo>
                  <a:pt x="0" y="3654719"/>
                </a:lnTo>
                <a:close/>
                <a:moveTo>
                  <a:pt x="3277347" y="852181"/>
                </a:moveTo>
                <a:lnTo>
                  <a:pt x="5081438" y="852181"/>
                </a:lnTo>
                <a:lnTo>
                  <a:pt x="5764806" y="2218916"/>
                </a:lnTo>
                <a:lnTo>
                  <a:pt x="5081438" y="3585651"/>
                </a:lnTo>
                <a:lnTo>
                  <a:pt x="3277347" y="3585651"/>
                </a:lnTo>
                <a:lnTo>
                  <a:pt x="2593979" y="2218916"/>
                </a:lnTo>
                <a:close/>
                <a:moveTo>
                  <a:pt x="5631441" y="546731"/>
                </a:moveTo>
                <a:lnTo>
                  <a:pt x="6459654" y="546731"/>
                </a:lnTo>
                <a:lnTo>
                  <a:pt x="6773371" y="1174165"/>
                </a:lnTo>
                <a:lnTo>
                  <a:pt x="6459654" y="1801599"/>
                </a:lnTo>
                <a:lnTo>
                  <a:pt x="5631441" y="1801599"/>
                </a:lnTo>
                <a:lnTo>
                  <a:pt x="5317724" y="1174165"/>
                </a:lnTo>
                <a:close/>
                <a:moveTo>
                  <a:pt x="1074002" y="0"/>
                </a:moveTo>
                <a:lnTo>
                  <a:pt x="2528640" y="0"/>
                </a:lnTo>
                <a:lnTo>
                  <a:pt x="3079639" y="1101997"/>
                </a:lnTo>
                <a:lnTo>
                  <a:pt x="2528640" y="2203994"/>
                </a:lnTo>
                <a:lnTo>
                  <a:pt x="1074002" y="2203994"/>
                </a:lnTo>
                <a:lnTo>
                  <a:pt x="523003" y="1101997"/>
                </a:lnTo>
                <a:close/>
              </a:path>
            </a:pathLst>
          </a:custGeom>
          <a:blipFill>
            <a:blip r:embed="rId2"/>
            <a:stretch>
              <a:fillRect/>
            </a:stretch>
          </a:blipFill>
        </p:spPr>
        <p:txBody>
          <a:bodyPr wrap="square">
            <a:noAutofit/>
          </a:bodyPr>
          <a:lstStyle>
            <a:lvl1pPr marL="0" indent="0">
              <a:buNone/>
              <a:defRPr sz="1400"/>
            </a:lvl1pPr>
          </a:lstStyle>
          <a:p>
            <a:endParaRPr lang="en-US"/>
          </a:p>
        </p:txBody>
      </p:sp>
    </p:spTree>
    <p:extLst>
      <p:ext uri="{BB962C8B-B14F-4D97-AF65-F5344CB8AC3E}">
        <p14:creationId xmlns:p14="http://schemas.microsoft.com/office/powerpoint/2010/main" val="32016492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2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438CA35D-1E94-B244-9218-54992CC83345}"/>
              </a:ext>
            </a:extLst>
          </p:cNvPr>
          <p:cNvSpPr>
            <a:spLocks noGrp="1"/>
          </p:cNvSpPr>
          <p:nvPr>
            <p:ph type="pic" sz="quarter" idx="13"/>
          </p:nvPr>
        </p:nvSpPr>
        <p:spPr>
          <a:xfrm>
            <a:off x="0" y="0"/>
            <a:ext cx="12192000" cy="3754876"/>
          </a:xfrm>
          <a:custGeom>
            <a:avLst/>
            <a:gdLst>
              <a:gd name="connsiteX0" fmla="*/ 0 w 12192000"/>
              <a:gd name="connsiteY0" fmla="*/ 0 h 3754876"/>
              <a:gd name="connsiteX1" fmla="*/ 12192000 w 12192000"/>
              <a:gd name="connsiteY1" fmla="*/ 0 h 3754876"/>
              <a:gd name="connsiteX2" fmla="*/ 12192000 w 12192000"/>
              <a:gd name="connsiteY2" fmla="*/ 3073940 h 3754876"/>
              <a:gd name="connsiteX3" fmla="*/ 6490944 w 12192000"/>
              <a:gd name="connsiteY3" fmla="*/ 3073940 h 3754876"/>
              <a:gd name="connsiteX4" fmla="*/ 6096001 w 12192000"/>
              <a:gd name="connsiteY4" fmla="*/ 3754876 h 3754876"/>
              <a:gd name="connsiteX5" fmla="*/ 5701060 w 12192000"/>
              <a:gd name="connsiteY5" fmla="*/ 3073940 h 3754876"/>
              <a:gd name="connsiteX6" fmla="*/ 0 w 12192000"/>
              <a:gd name="connsiteY6" fmla="*/ 3073940 h 3754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754876">
                <a:moveTo>
                  <a:pt x="0" y="0"/>
                </a:moveTo>
                <a:lnTo>
                  <a:pt x="12192000" y="0"/>
                </a:lnTo>
                <a:lnTo>
                  <a:pt x="12192000" y="3073940"/>
                </a:lnTo>
                <a:lnTo>
                  <a:pt x="6490944" y="3073940"/>
                </a:lnTo>
                <a:lnTo>
                  <a:pt x="6096001" y="3754876"/>
                </a:lnTo>
                <a:lnTo>
                  <a:pt x="5701060" y="3073940"/>
                </a:lnTo>
                <a:lnTo>
                  <a:pt x="0" y="3073940"/>
                </a:lnTo>
                <a:close/>
              </a:path>
            </a:pathLst>
          </a:custGeom>
          <a:blipFill>
            <a:blip r:embed="rId2"/>
            <a:stretch>
              <a:fillRect/>
            </a:stretch>
          </a:blipFill>
          <a:effectLst>
            <a:outerShdw blurRad="50800" dist="38100" dir="5400000" algn="t" rotWithShape="0">
              <a:prstClr val="black">
                <a:alpha val="10000"/>
              </a:prstClr>
            </a:outerShdw>
          </a:effectLst>
        </p:spPr>
        <p:txBody>
          <a:bodyPr wrap="square">
            <a:noAutofit/>
          </a:bodyPr>
          <a:lstStyle>
            <a:lvl1pPr marL="0" indent="0">
              <a:buNone/>
              <a:defRPr sz="1400"/>
            </a:lvl1pPr>
          </a:lstStyle>
          <a:p>
            <a:endParaRPr lang="en-US"/>
          </a:p>
        </p:txBody>
      </p:sp>
      <p:sp>
        <p:nvSpPr>
          <p:cNvPr id="3" name="Date Placeholder 2">
            <a:extLst>
              <a:ext uri="{FF2B5EF4-FFF2-40B4-BE49-F238E27FC236}">
                <a16:creationId xmlns:a16="http://schemas.microsoft.com/office/drawing/2014/main" id="{A755263C-0845-DF41-9A75-E2CFBF4A6038}"/>
              </a:ext>
            </a:extLst>
          </p:cNvPr>
          <p:cNvSpPr>
            <a:spLocks noGrp="1"/>
          </p:cNvSpPr>
          <p:nvPr>
            <p:ph type="dt" sz="half" idx="10"/>
          </p:nvPr>
        </p:nvSpPr>
        <p:spPr/>
        <p:txBody>
          <a:bodyPr/>
          <a:lstStyle/>
          <a:p>
            <a:fld id="{6A0C4EFF-7BB9-A045-B777-5D40845EB54B}" type="datetimeFigureOut">
              <a:rPr lang="en-US" smtClean="0"/>
              <a:t>4/15/2020</a:t>
            </a:fld>
            <a:endParaRPr lang="en-US" dirty="0"/>
          </a:p>
        </p:txBody>
      </p:sp>
      <p:sp>
        <p:nvSpPr>
          <p:cNvPr id="4" name="Footer Placeholder 3">
            <a:extLst>
              <a:ext uri="{FF2B5EF4-FFF2-40B4-BE49-F238E27FC236}">
                <a16:creationId xmlns:a16="http://schemas.microsoft.com/office/drawing/2014/main" id="{EEEFDB39-313C-F243-8C1D-A67623A2FAEF}"/>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E9C13CC1-256F-A742-8760-260174BC4651}"/>
              </a:ext>
            </a:extLst>
          </p:cNvPr>
          <p:cNvSpPr>
            <a:spLocks noGrp="1"/>
          </p:cNvSpPr>
          <p:nvPr>
            <p:ph type="sldNum" sz="quarter" idx="12"/>
          </p:nvPr>
        </p:nvSpPr>
        <p:spPr/>
        <p:txBody>
          <a:bodyPr/>
          <a:lstStyle/>
          <a:p>
            <a:fld id="{3BA69586-E6B3-B646-96E5-E7A8350A3CCE}" type="slidenum">
              <a:rPr lang="en-US" smtClean="0"/>
              <a:pPr/>
              <a:t>‹#›</a:t>
            </a:fld>
            <a:endParaRPr lang="en-US" dirty="0"/>
          </a:p>
        </p:txBody>
      </p:sp>
    </p:spTree>
    <p:extLst>
      <p:ext uri="{BB962C8B-B14F-4D97-AF65-F5344CB8AC3E}">
        <p14:creationId xmlns:p14="http://schemas.microsoft.com/office/powerpoint/2010/main" val="291654176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BC088B2-8DE3-F345-AF0D-A106058ED760}"/>
              </a:ext>
            </a:extLst>
          </p:cNvPr>
          <p:cNvSpPr>
            <a:spLocks noGrp="1"/>
          </p:cNvSpPr>
          <p:nvPr>
            <p:ph type="dt" sz="half" idx="10"/>
          </p:nvPr>
        </p:nvSpPr>
        <p:spPr/>
        <p:txBody>
          <a:bodyPr/>
          <a:lstStyle/>
          <a:p>
            <a:fld id="{6A0C4EFF-7BB9-A045-B777-5D40845EB54B}" type="datetimeFigureOut">
              <a:rPr lang="en-US" smtClean="0"/>
              <a:t>4/15/2020</a:t>
            </a:fld>
            <a:endParaRPr lang="en-US" dirty="0"/>
          </a:p>
        </p:txBody>
      </p:sp>
      <p:sp>
        <p:nvSpPr>
          <p:cNvPr id="4" name="Footer Placeholder 3">
            <a:extLst>
              <a:ext uri="{FF2B5EF4-FFF2-40B4-BE49-F238E27FC236}">
                <a16:creationId xmlns:a16="http://schemas.microsoft.com/office/drawing/2014/main" id="{FCB7FD43-89AF-F943-81D8-F02DC1EBC058}"/>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66F0FC42-87D3-994F-A41A-C8B0CA2FCFDB}"/>
              </a:ext>
            </a:extLst>
          </p:cNvPr>
          <p:cNvSpPr>
            <a:spLocks noGrp="1"/>
          </p:cNvSpPr>
          <p:nvPr>
            <p:ph type="sldNum" sz="quarter" idx="12"/>
          </p:nvPr>
        </p:nvSpPr>
        <p:spPr/>
        <p:txBody>
          <a:bodyPr/>
          <a:lstStyle/>
          <a:p>
            <a:fld id="{3BA69586-E6B3-B646-96E5-E7A8350A3CCE}" type="slidenum">
              <a:rPr lang="en-US" smtClean="0"/>
              <a:pPr/>
              <a:t>‹#›</a:t>
            </a:fld>
            <a:endParaRPr lang="en-US" dirty="0"/>
          </a:p>
        </p:txBody>
      </p:sp>
      <p:sp>
        <p:nvSpPr>
          <p:cNvPr id="9" name="Picture Placeholder 8">
            <a:extLst>
              <a:ext uri="{FF2B5EF4-FFF2-40B4-BE49-F238E27FC236}">
                <a16:creationId xmlns:a16="http://schemas.microsoft.com/office/drawing/2014/main" id="{537A1FA5-94BD-0345-8B0B-A6E7FB7B6A04}"/>
              </a:ext>
            </a:extLst>
          </p:cNvPr>
          <p:cNvSpPr>
            <a:spLocks noGrp="1"/>
          </p:cNvSpPr>
          <p:nvPr>
            <p:ph type="pic" sz="quarter" idx="13"/>
          </p:nvPr>
        </p:nvSpPr>
        <p:spPr>
          <a:xfrm>
            <a:off x="-1" y="-1"/>
            <a:ext cx="6762712" cy="6858000"/>
          </a:xfrm>
          <a:custGeom>
            <a:avLst/>
            <a:gdLst>
              <a:gd name="connsiteX0" fmla="*/ 0 w 6762712"/>
              <a:gd name="connsiteY0" fmla="*/ 0 h 6858000"/>
              <a:gd name="connsiteX1" fmla="*/ 3436536 w 6762712"/>
              <a:gd name="connsiteY1" fmla="*/ 0 h 6858000"/>
              <a:gd name="connsiteX2" fmla="*/ 3436536 w 6762712"/>
              <a:gd name="connsiteY2" fmla="*/ 1 h 6858000"/>
              <a:gd name="connsiteX3" fmla="*/ 5440680 w 6762712"/>
              <a:gd name="connsiteY3" fmla="*/ 1 h 6858000"/>
              <a:gd name="connsiteX4" fmla="*/ 5679440 w 6762712"/>
              <a:gd name="connsiteY4" fmla="*/ 228601 h 6858000"/>
              <a:gd name="connsiteX5" fmla="*/ 5440680 w 6762712"/>
              <a:gd name="connsiteY5" fmla="*/ 457201 h 6858000"/>
              <a:gd name="connsiteX6" fmla="*/ 5176520 w 6762712"/>
              <a:gd name="connsiteY6" fmla="*/ 457201 h 6858000"/>
              <a:gd name="connsiteX7" fmla="*/ 4937760 w 6762712"/>
              <a:gd name="connsiteY7" fmla="*/ 685801 h 6858000"/>
              <a:gd name="connsiteX8" fmla="*/ 5083584 w 6762712"/>
              <a:gd name="connsiteY8" fmla="*/ 896437 h 6858000"/>
              <a:gd name="connsiteX9" fmla="*/ 5176519 w 6762712"/>
              <a:gd name="connsiteY9" fmla="*/ 914401 h 6858000"/>
              <a:gd name="connsiteX10" fmla="*/ 5440680 w 6762712"/>
              <a:gd name="connsiteY10" fmla="*/ 914401 h 6858000"/>
              <a:gd name="connsiteX11" fmla="*/ 5679440 w 6762712"/>
              <a:gd name="connsiteY11" fmla="*/ 1143001 h 6858000"/>
              <a:gd name="connsiteX12" fmla="*/ 5440680 w 6762712"/>
              <a:gd name="connsiteY12" fmla="*/ 1371601 h 6858000"/>
              <a:gd name="connsiteX13" fmla="*/ 5176520 w 6762712"/>
              <a:gd name="connsiteY13" fmla="*/ 1371601 h 6858000"/>
              <a:gd name="connsiteX14" fmla="*/ 5083584 w 6762712"/>
              <a:gd name="connsiteY14" fmla="*/ 1389566 h 6858000"/>
              <a:gd name="connsiteX15" fmla="*/ 4937760 w 6762712"/>
              <a:gd name="connsiteY15" fmla="*/ 1600201 h 6858000"/>
              <a:gd name="connsiteX16" fmla="*/ 5083584 w 6762712"/>
              <a:gd name="connsiteY16" fmla="*/ 1810837 h 6858000"/>
              <a:gd name="connsiteX17" fmla="*/ 5176520 w 6762712"/>
              <a:gd name="connsiteY17" fmla="*/ 1828801 h 6858000"/>
              <a:gd name="connsiteX18" fmla="*/ 5991398 w 6762712"/>
              <a:gd name="connsiteY18" fmla="*/ 1828801 h 6858000"/>
              <a:gd name="connsiteX19" fmla="*/ 6230158 w 6762712"/>
              <a:gd name="connsiteY19" fmla="*/ 2057401 h 6858000"/>
              <a:gd name="connsiteX20" fmla="*/ 5991398 w 6762712"/>
              <a:gd name="connsiteY20" fmla="*/ 2286001 h 6858000"/>
              <a:gd name="connsiteX21" fmla="*/ 5513878 w 6762712"/>
              <a:gd name="connsiteY21" fmla="*/ 2286001 h 6858000"/>
              <a:gd name="connsiteX22" fmla="*/ 5275118 w 6762712"/>
              <a:gd name="connsiteY22" fmla="*/ 2514601 h 6858000"/>
              <a:gd name="connsiteX23" fmla="*/ 5513878 w 6762712"/>
              <a:gd name="connsiteY23" fmla="*/ 2743201 h 6858000"/>
              <a:gd name="connsiteX24" fmla="*/ 6461298 w 6762712"/>
              <a:gd name="connsiteY24" fmla="*/ 2743201 h 6858000"/>
              <a:gd name="connsiteX25" fmla="*/ 6700058 w 6762712"/>
              <a:gd name="connsiteY25" fmla="*/ 2971801 h 6858000"/>
              <a:gd name="connsiteX26" fmla="*/ 6461298 w 6762712"/>
              <a:gd name="connsiteY26" fmla="*/ 3200400 h 6858000"/>
              <a:gd name="connsiteX27" fmla="*/ 6199678 w 6762712"/>
              <a:gd name="connsiteY27" fmla="*/ 3200400 h 6858000"/>
              <a:gd name="connsiteX28" fmla="*/ 5960918 w 6762712"/>
              <a:gd name="connsiteY28" fmla="*/ 3429000 h 6858000"/>
              <a:gd name="connsiteX29" fmla="*/ 6199678 w 6762712"/>
              <a:gd name="connsiteY29" fmla="*/ 3657600 h 6858000"/>
              <a:gd name="connsiteX30" fmla="*/ 6523952 w 6762712"/>
              <a:gd name="connsiteY30" fmla="*/ 3657600 h 6858000"/>
              <a:gd name="connsiteX31" fmla="*/ 6762712 w 6762712"/>
              <a:gd name="connsiteY31" fmla="*/ 3886200 h 6858000"/>
              <a:gd name="connsiteX32" fmla="*/ 6523952 w 6762712"/>
              <a:gd name="connsiteY32" fmla="*/ 4114800 h 6858000"/>
              <a:gd name="connsiteX33" fmla="*/ 5556211 w 6762712"/>
              <a:gd name="connsiteY33" fmla="*/ 4114800 h 6858000"/>
              <a:gd name="connsiteX34" fmla="*/ 5317451 w 6762712"/>
              <a:gd name="connsiteY34" fmla="*/ 4343400 h 6858000"/>
              <a:gd name="connsiteX35" fmla="*/ 5556211 w 6762712"/>
              <a:gd name="connsiteY35" fmla="*/ 4572000 h 6858000"/>
              <a:gd name="connsiteX36" fmla="*/ 6033731 w 6762712"/>
              <a:gd name="connsiteY36" fmla="*/ 4572000 h 6858000"/>
              <a:gd name="connsiteX37" fmla="*/ 6272491 w 6762712"/>
              <a:gd name="connsiteY37" fmla="*/ 4800600 h 6858000"/>
              <a:gd name="connsiteX38" fmla="*/ 6033731 w 6762712"/>
              <a:gd name="connsiteY38" fmla="*/ 5029200 h 6858000"/>
              <a:gd name="connsiteX39" fmla="*/ 5818678 w 6762712"/>
              <a:gd name="connsiteY39" fmla="*/ 5029200 h 6858000"/>
              <a:gd name="connsiteX40" fmla="*/ 5579918 w 6762712"/>
              <a:gd name="connsiteY40" fmla="*/ 5257800 h 6858000"/>
              <a:gd name="connsiteX41" fmla="*/ 5818678 w 6762712"/>
              <a:gd name="connsiteY41" fmla="*/ 5486400 h 6858000"/>
              <a:gd name="connsiteX42" fmla="*/ 6033731 w 6762712"/>
              <a:gd name="connsiteY42" fmla="*/ 5486400 h 6858000"/>
              <a:gd name="connsiteX43" fmla="*/ 6272491 w 6762712"/>
              <a:gd name="connsiteY43" fmla="*/ 5715000 h 6858000"/>
              <a:gd name="connsiteX44" fmla="*/ 6033731 w 6762712"/>
              <a:gd name="connsiteY44" fmla="*/ 5943600 h 6858000"/>
              <a:gd name="connsiteX45" fmla="*/ 5457730 w 6762712"/>
              <a:gd name="connsiteY45" fmla="*/ 5943600 h 6858000"/>
              <a:gd name="connsiteX46" fmla="*/ 5218970 w 6762712"/>
              <a:gd name="connsiteY46" fmla="*/ 6172200 h 6858000"/>
              <a:gd name="connsiteX47" fmla="*/ 5457730 w 6762712"/>
              <a:gd name="connsiteY47" fmla="*/ 6400800 h 6858000"/>
              <a:gd name="connsiteX48" fmla="*/ 5736953 w 6762712"/>
              <a:gd name="connsiteY48" fmla="*/ 6400800 h 6858000"/>
              <a:gd name="connsiteX49" fmla="*/ 5975713 w 6762712"/>
              <a:gd name="connsiteY49" fmla="*/ 6629400 h 6858000"/>
              <a:gd name="connsiteX50" fmla="*/ 5736953 w 6762712"/>
              <a:gd name="connsiteY50" fmla="*/ 6858000 h 6858000"/>
              <a:gd name="connsiteX51" fmla="*/ 3436536 w 6762712"/>
              <a:gd name="connsiteY51" fmla="*/ 6858000 h 6858000"/>
              <a:gd name="connsiteX52" fmla="*/ 2048874 w 6762712"/>
              <a:gd name="connsiteY52" fmla="*/ 6858000 h 6858000"/>
              <a:gd name="connsiteX53" fmla="*/ 0 w 6762712"/>
              <a:gd name="connsiteY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6762712" h="6858000">
                <a:moveTo>
                  <a:pt x="0" y="0"/>
                </a:moveTo>
                <a:lnTo>
                  <a:pt x="3436536" y="0"/>
                </a:lnTo>
                <a:lnTo>
                  <a:pt x="3436536" y="1"/>
                </a:lnTo>
                <a:lnTo>
                  <a:pt x="5440680" y="1"/>
                </a:lnTo>
                <a:cubicBezTo>
                  <a:pt x="5572544" y="1"/>
                  <a:pt x="5679440" y="102348"/>
                  <a:pt x="5679440" y="228601"/>
                </a:cubicBezTo>
                <a:cubicBezTo>
                  <a:pt x="5679440" y="354854"/>
                  <a:pt x="5572544" y="457201"/>
                  <a:pt x="5440680" y="457201"/>
                </a:cubicBezTo>
                <a:lnTo>
                  <a:pt x="5176520" y="457201"/>
                </a:lnTo>
                <a:cubicBezTo>
                  <a:pt x="5044656" y="457201"/>
                  <a:pt x="4937760" y="559548"/>
                  <a:pt x="4937760" y="685801"/>
                </a:cubicBezTo>
                <a:cubicBezTo>
                  <a:pt x="4937760" y="780491"/>
                  <a:pt x="4997889" y="861734"/>
                  <a:pt x="5083584" y="896437"/>
                </a:cubicBezTo>
                <a:lnTo>
                  <a:pt x="5176519" y="914401"/>
                </a:lnTo>
                <a:lnTo>
                  <a:pt x="5440680" y="914401"/>
                </a:lnTo>
                <a:cubicBezTo>
                  <a:pt x="5572544" y="914401"/>
                  <a:pt x="5679440" y="1016748"/>
                  <a:pt x="5679440" y="1143001"/>
                </a:cubicBezTo>
                <a:cubicBezTo>
                  <a:pt x="5679440" y="1269254"/>
                  <a:pt x="5572544" y="1371601"/>
                  <a:pt x="5440680" y="1371601"/>
                </a:cubicBezTo>
                <a:lnTo>
                  <a:pt x="5176520" y="1371601"/>
                </a:lnTo>
                <a:lnTo>
                  <a:pt x="5083584" y="1389566"/>
                </a:lnTo>
                <a:cubicBezTo>
                  <a:pt x="4997889" y="1424269"/>
                  <a:pt x="4937760" y="1505512"/>
                  <a:pt x="4937760" y="1600201"/>
                </a:cubicBezTo>
                <a:cubicBezTo>
                  <a:pt x="4937760" y="1694891"/>
                  <a:pt x="4997889" y="1776134"/>
                  <a:pt x="5083584" y="1810837"/>
                </a:cubicBezTo>
                <a:lnTo>
                  <a:pt x="5176520" y="1828801"/>
                </a:lnTo>
                <a:lnTo>
                  <a:pt x="5991398" y="1828801"/>
                </a:lnTo>
                <a:cubicBezTo>
                  <a:pt x="6123262" y="1828801"/>
                  <a:pt x="6230158" y="1931148"/>
                  <a:pt x="6230158" y="2057401"/>
                </a:cubicBezTo>
                <a:cubicBezTo>
                  <a:pt x="6230158" y="2183654"/>
                  <a:pt x="6123262" y="2286001"/>
                  <a:pt x="5991398" y="2286001"/>
                </a:cubicBezTo>
                <a:lnTo>
                  <a:pt x="5513878" y="2286001"/>
                </a:lnTo>
                <a:cubicBezTo>
                  <a:pt x="5382014" y="2286001"/>
                  <a:pt x="5275118" y="2388349"/>
                  <a:pt x="5275118" y="2514601"/>
                </a:cubicBezTo>
                <a:cubicBezTo>
                  <a:pt x="5275118" y="2640854"/>
                  <a:pt x="5382014" y="2743201"/>
                  <a:pt x="5513878" y="2743201"/>
                </a:cubicBezTo>
                <a:lnTo>
                  <a:pt x="6461298" y="2743201"/>
                </a:lnTo>
                <a:cubicBezTo>
                  <a:pt x="6593162" y="2743201"/>
                  <a:pt x="6700058" y="2845548"/>
                  <a:pt x="6700058" y="2971801"/>
                </a:cubicBezTo>
                <a:cubicBezTo>
                  <a:pt x="6700058" y="3098054"/>
                  <a:pt x="6593162" y="3200400"/>
                  <a:pt x="6461298" y="3200400"/>
                </a:cubicBezTo>
                <a:lnTo>
                  <a:pt x="6199678" y="3200400"/>
                </a:lnTo>
                <a:cubicBezTo>
                  <a:pt x="6067814" y="3200400"/>
                  <a:pt x="5960918" y="3302748"/>
                  <a:pt x="5960918" y="3429000"/>
                </a:cubicBezTo>
                <a:cubicBezTo>
                  <a:pt x="5960918" y="3555253"/>
                  <a:pt x="6067814" y="3657600"/>
                  <a:pt x="6199678" y="3657600"/>
                </a:cubicBezTo>
                <a:lnTo>
                  <a:pt x="6523952" y="3657600"/>
                </a:lnTo>
                <a:cubicBezTo>
                  <a:pt x="6655816" y="3657600"/>
                  <a:pt x="6762712" y="3759947"/>
                  <a:pt x="6762712" y="3886200"/>
                </a:cubicBezTo>
                <a:cubicBezTo>
                  <a:pt x="6762712" y="4012453"/>
                  <a:pt x="6655816" y="4114800"/>
                  <a:pt x="6523952" y="4114800"/>
                </a:cubicBezTo>
                <a:lnTo>
                  <a:pt x="5556211" y="4114800"/>
                </a:lnTo>
                <a:cubicBezTo>
                  <a:pt x="5424347" y="4114800"/>
                  <a:pt x="5317451" y="4217148"/>
                  <a:pt x="5317451" y="4343400"/>
                </a:cubicBezTo>
                <a:cubicBezTo>
                  <a:pt x="5317451" y="4469653"/>
                  <a:pt x="5424347" y="4572000"/>
                  <a:pt x="5556211" y="4572000"/>
                </a:cubicBezTo>
                <a:lnTo>
                  <a:pt x="6033731" y="4572000"/>
                </a:lnTo>
                <a:cubicBezTo>
                  <a:pt x="6165595" y="4572000"/>
                  <a:pt x="6272491" y="4674347"/>
                  <a:pt x="6272491" y="4800600"/>
                </a:cubicBezTo>
                <a:cubicBezTo>
                  <a:pt x="6272491" y="4926853"/>
                  <a:pt x="6165595" y="5029200"/>
                  <a:pt x="6033731" y="5029200"/>
                </a:cubicBezTo>
                <a:lnTo>
                  <a:pt x="5818678" y="5029200"/>
                </a:lnTo>
                <a:cubicBezTo>
                  <a:pt x="5686814" y="5029200"/>
                  <a:pt x="5579918" y="5131547"/>
                  <a:pt x="5579918" y="5257800"/>
                </a:cubicBezTo>
                <a:cubicBezTo>
                  <a:pt x="5579918" y="5384053"/>
                  <a:pt x="5686814" y="5486400"/>
                  <a:pt x="5818678" y="5486400"/>
                </a:cubicBezTo>
                <a:lnTo>
                  <a:pt x="6033731" y="5486400"/>
                </a:lnTo>
                <a:cubicBezTo>
                  <a:pt x="6165595" y="5486400"/>
                  <a:pt x="6272491" y="5588747"/>
                  <a:pt x="6272491" y="5715000"/>
                </a:cubicBezTo>
                <a:cubicBezTo>
                  <a:pt x="6272491" y="5841253"/>
                  <a:pt x="6165595" y="5943600"/>
                  <a:pt x="6033731" y="5943600"/>
                </a:cubicBezTo>
                <a:lnTo>
                  <a:pt x="5457730" y="5943600"/>
                </a:lnTo>
                <a:cubicBezTo>
                  <a:pt x="5325866" y="5943600"/>
                  <a:pt x="5218970" y="6045947"/>
                  <a:pt x="5218970" y="6172200"/>
                </a:cubicBezTo>
                <a:cubicBezTo>
                  <a:pt x="5218970" y="6298453"/>
                  <a:pt x="5325866" y="6400800"/>
                  <a:pt x="5457730" y="6400800"/>
                </a:cubicBezTo>
                <a:lnTo>
                  <a:pt x="5736953" y="6400800"/>
                </a:lnTo>
                <a:cubicBezTo>
                  <a:pt x="5868817" y="6400800"/>
                  <a:pt x="5975713" y="6503147"/>
                  <a:pt x="5975713" y="6629400"/>
                </a:cubicBezTo>
                <a:cubicBezTo>
                  <a:pt x="5975713" y="6755653"/>
                  <a:pt x="5868817" y="6858000"/>
                  <a:pt x="5736953" y="6858000"/>
                </a:cubicBezTo>
                <a:lnTo>
                  <a:pt x="3436536" y="6858000"/>
                </a:lnTo>
                <a:lnTo>
                  <a:pt x="2048874" y="6858000"/>
                </a:lnTo>
                <a:lnTo>
                  <a:pt x="0" y="6858000"/>
                </a:lnTo>
                <a:close/>
              </a:path>
            </a:pathLst>
          </a:custGeom>
          <a:blipFill>
            <a:blip r:embed="rId2"/>
            <a:stretch>
              <a:fillRect/>
            </a:stretch>
          </a:blipFill>
          <a:effectLst/>
        </p:spPr>
        <p:txBody>
          <a:bodyPr wrap="square">
            <a:noAutofit/>
          </a:bodyPr>
          <a:lstStyle>
            <a:lvl1pPr marL="0" indent="0">
              <a:buNone/>
              <a:defRPr sz="1400"/>
            </a:lvl1pPr>
          </a:lstStyle>
          <a:p>
            <a:endParaRPr lang="en-US"/>
          </a:p>
        </p:txBody>
      </p:sp>
    </p:spTree>
    <p:extLst>
      <p:ext uri="{BB962C8B-B14F-4D97-AF65-F5344CB8AC3E}">
        <p14:creationId xmlns:p14="http://schemas.microsoft.com/office/powerpoint/2010/main" val="17621186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3908B62C-8169-B743-A7AD-524AA5C3C564}"/>
              </a:ext>
            </a:extLst>
          </p:cNvPr>
          <p:cNvSpPr>
            <a:spLocks noGrp="1"/>
          </p:cNvSpPr>
          <p:nvPr>
            <p:ph type="pic" sz="quarter" idx="16"/>
          </p:nvPr>
        </p:nvSpPr>
        <p:spPr>
          <a:xfrm>
            <a:off x="9235440" y="1715976"/>
            <a:ext cx="2956560" cy="3434455"/>
          </a:xfrm>
          <a:custGeom>
            <a:avLst/>
            <a:gdLst>
              <a:gd name="connsiteX0" fmla="*/ 0 w 2956560"/>
              <a:gd name="connsiteY0" fmla="*/ 0 h 3434455"/>
              <a:gd name="connsiteX1" fmla="*/ 2956560 w 2956560"/>
              <a:gd name="connsiteY1" fmla="*/ 0 h 3434455"/>
              <a:gd name="connsiteX2" fmla="*/ 2956560 w 2956560"/>
              <a:gd name="connsiteY2" fmla="*/ 3434455 h 3434455"/>
              <a:gd name="connsiteX3" fmla="*/ 0 w 2956560"/>
              <a:gd name="connsiteY3" fmla="*/ 3434455 h 3434455"/>
            </a:gdLst>
            <a:ahLst/>
            <a:cxnLst>
              <a:cxn ang="0">
                <a:pos x="connsiteX0" y="connsiteY0"/>
              </a:cxn>
              <a:cxn ang="0">
                <a:pos x="connsiteX1" y="connsiteY1"/>
              </a:cxn>
              <a:cxn ang="0">
                <a:pos x="connsiteX2" y="connsiteY2"/>
              </a:cxn>
              <a:cxn ang="0">
                <a:pos x="connsiteX3" y="connsiteY3"/>
              </a:cxn>
            </a:cxnLst>
            <a:rect l="l" t="t" r="r" b="b"/>
            <a:pathLst>
              <a:path w="2956560" h="3434455">
                <a:moveTo>
                  <a:pt x="0" y="0"/>
                </a:moveTo>
                <a:lnTo>
                  <a:pt x="2956560" y="0"/>
                </a:lnTo>
                <a:lnTo>
                  <a:pt x="2956560" y="3434455"/>
                </a:lnTo>
                <a:lnTo>
                  <a:pt x="0" y="3434455"/>
                </a:lnTo>
                <a:close/>
              </a:path>
            </a:pathLst>
          </a:custGeom>
          <a:blipFill>
            <a:blip r:embed="rId2"/>
            <a:stretch>
              <a:fillRect/>
            </a:stretch>
          </a:blipFill>
        </p:spPr>
        <p:txBody>
          <a:bodyPr wrap="square">
            <a:noAutofit/>
          </a:bodyPr>
          <a:lstStyle>
            <a:lvl1pPr marL="0" indent="0">
              <a:buNone/>
              <a:defRPr sz="1400"/>
            </a:lvl1pPr>
          </a:lstStyle>
          <a:p>
            <a:endParaRPr lang="en-US"/>
          </a:p>
        </p:txBody>
      </p:sp>
      <p:sp>
        <p:nvSpPr>
          <p:cNvPr id="18" name="Picture Placeholder 17">
            <a:extLst>
              <a:ext uri="{FF2B5EF4-FFF2-40B4-BE49-F238E27FC236}">
                <a16:creationId xmlns:a16="http://schemas.microsoft.com/office/drawing/2014/main" id="{2C2C9C96-855F-194F-869F-0A3D6AC71CC2}"/>
              </a:ext>
            </a:extLst>
          </p:cNvPr>
          <p:cNvSpPr>
            <a:spLocks noGrp="1"/>
          </p:cNvSpPr>
          <p:nvPr>
            <p:ph type="pic" sz="quarter" idx="15"/>
          </p:nvPr>
        </p:nvSpPr>
        <p:spPr>
          <a:xfrm>
            <a:off x="6156960" y="1715976"/>
            <a:ext cx="2956560" cy="3434455"/>
          </a:xfrm>
          <a:custGeom>
            <a:avLst/>
            <a:gdLst>
              <a:gd name="connsiteX0" fmla="*/ 0 w 2956560"/>
              <a:gd name="connsiteY0" fmla="*/ 0 h 3434455"/>
              <a:gd name="connsiteX1" fmla="*/ 2956560 w 2956560"/>
              <a:gd name="connsiteY1" fmla="*/ 0 h 3434455"/>
              <a:gd name="connsiteX2" fmla="*/ 2956560 w 2956560"/>
              <a:gd name="connsiteY2" fmla="*/ 3434455 h 3434455"/>
              <a:gd name="connsiteX3" fmla="*/ 0 w 2956560"/>
              <a:gd name="connsiteY3" fmla="*/ 3434455 h 3434455"/>
            </a:gdLst>
            <a:ahLst/>
            <a:cxnLst>
              <a:cxn ang="0">
                <a:pos x="connsiteX0" y="connsiteY0"/>
              </a:cxn>
              <a:cxn ang="0">
                <a:pos x="connsiteX1" y="connsiteY1"/>
              </a:cxn>
              <a:cxn ang="0">
                <a:pos x="connsiteX2" y="connsiteY2"/>
              </a:cxn>
              <a:cxn ang="0">
                <a:pos x="connsiteX3" y="connsiteY3"/>
              </a:cxn>
            </a:cxnLst>
            <a:rect l="l" t="t" r="r" b="b"/>
            <a:pathLst>
              <a:path w="2956560" h="3434455">
                <a:moveTo>
                  <a:pt x="0" y="0"/>
                </a:moveTo>
                <a:lnTo>
                  <a:pt x="2956560" y="0"/>
                </a:lnTo>
                <a:lnTo>
                  <a:pt x="2956560" y="3434455"/>
                </a:lnTo>
                <a:lnTo>
                  <a:pt x="0" y="3434455"/>
                </a:lnTo>
                <a:close/>
              </a:path>
            </a:pathLst>
          </a:custGeom>
          <a:blipFill>
            <a:blip r:embed="rId2"/>
            <a:stretch>
              <a:fillRect/>
            </a:stretch>
          </a:blipFill>
        </p:spPr>
        <p:txBody>
          <a:bodyPr wrap="square">
            <a:noAutofit/>
          </a:bodyPr>
          <a:lstStyle>
            <a:lvl1pPr marL="0" indent="0">
              <a:buNone/>
              <a:defRPr sz="1400"/>
            </a:lvl1pPr>
          </a:lstStyle>
          <a:p>
            <a:endParaRPr lang="en-US"/>
          </a:p>
        </p:txBody>
      </p:sp>
      <p:sp>
        <p:nvSpPr>
          <p:cNvPr id="15" name="Picture Placeholder 14">
            <a:extLst>
              <a:ext uri="{FF2B5EF4-FFF2-40B4-BE49-F238E27FC236}">
                <a16:creationId xmlns:a16="http://schemas.microsoft.com/office/drawing/2014/main" id="{0FC7C311-0976-7A43-BCD2-B7FB2D48243D}"/>
              </a:ext>
            </a:extLst>
          </p:cNvPr>
          <p:cNvSpPr>
            <a:spLocks noGrp="1"/>
          </p:cNvSpPr>
          <p:nvPr>
            <p:ph type="pic" sz="quarter" idx="14"/>
          </p:nvPr>
        </p:nvSpPr>
        <p:spPr>
          <a:xfrm>
            <a:off x="3078480" y="1715976"/>
            <a:ext cx="2956560" cy="3434455"/>
          </a:xfrm>
          <a:custGeom>
            <a:avLst/>
            <a:gdLst>
              <a:gd name="connsiteX0" fmla="*/ 0 w 2956560"/>
              <a:gd name="connsiteY0" fmla="*/ 0 h 3434455"/>
              <a:gd name="connsiteX1" fmla="*/ 2956560 w 2956560"/>
              <a:gd name="connsiteY1" fmla="*/ 0 h 3434455"/>
              <a:gd name="connsiteX2" fmla="*/ 2956560 w 2956560"/>
              <a:gd name="connsiteY2" fmla="*/ 3434455 h 3434455"/>
              <a:gd name="connsiteX3" fmla="*/ 0 w 2956560"/>
              <a:gd name="connsiteY3" fmla="*/ 3434455 h 3434455"/>
            </a:gdLst>
            <a:ahLst/>
            <a:cxnLst>
              <a:cxn ang="0">
                <a:pos x="connsiteX0" y="connsiteY0"/>
              </a:cxn>
              <a:cxn ang="0">
                <a:pos x="connsiteX1" y="connsiteY1"/>
              </a:cxn>
              <a:cxn ang="0">
                <a:pos x="connsiteX2" y="connsiteY2"/>
              </a:cxn>
              <a:cxn ang="0">
                <a:pos x="connsiteX3" y="connsiteY3"/>
              </a:cxn>
            </a:cxnLst>
            <a:rect l="l" t="t" r="r" b="b"/>
            <a:pathLst>
              <a:path w="2956560" h="3434455">
                <a:moveTo>
                  <a:pt x="0" y="0"/>
                </a:moveTo>
                <a:lnTo>
                  <a:pt x="2956560" y="0"/>
                </a:lnTo>
                <a:lnTo>
                  <a:pt x="2956560" y="3434455"/>
                </a:lnTo>
                <a:lnTo>
                  <a:pt x="0" y="3434455"/>
                </a:lnTo>
                <a:close/>
              </a:path>
            </a:pathLst>
          </a:custGeom>
          <a:blipFill>
            <a:blip r:embed="rId2"/>
            <a:stretch>
              <a:fillRect/>
            </a:stretch>
          </a:blipFill>
        </p:spPr>
        <p:txBody>
          <a:bodyPr wrap="square">
            <a:noAutofit/>
          </a:bodyPr>
          <a:lstStyle>
            <a:lvl1pPr marL="0" indent="0">
              <a:buNone/>
              <a:defRPr sz="1400"/>
            </a:lvl1pPr>
          </a:lstStyle>
          <a:p>
            <a:endParaRPr lang="en-US"/>
          </a:p>
        </p:txBody>
      </p:sp>
      <p:sp>
        <p:nvSpPr>
          <p:cNvPr id="12" name="Picture Placeholder 11">
            <a:extLst>
              <a:ext uri="{FF2B5EF4-FFF2-40B4-BE49-F238E27FC236}">
                <a16:creationId xmlns:a16="http://schemas.microsoft.com/office/drawing/2014/main" id="{EA98D236-DB26-5649-8339-010252CA0837}"/>
              </a:ext>
            </a:extLst>
          </p:cNvPr>
          <p:cNvSpPr>
            <a:spLocks noGrp="1"/>
          </p:cNvSpPr>
          <p:nvPr>
            <p:ph type="pic" sz="quarter" idx="13"/>
          </p:nvPr>
        </p:nvSpPr>
        <p:spPr>
          <a:xfrm>
            <a:off x="0" y="1715976"/>
            <a:ext cx="2956560" cy="3434455"/>
          </a:xfrm>
          <a:custGeom>
            <a:avLst/>
            <a:gdLst>
              <a:gd name="connsiteX0" fmla="*/ 0 w 2956560"/>
              <a:gd name="connsiteY0" fmla="*/ 0 h 3434455"/>
              <a:gd name="connsiteX1" fmla="*/ 2956560 w 2956560"/>
              <a:gd name="connsiteY1" fmla="*/ 0 h 3434455"/>
              <a:gd name="connsiteX2" fmla="*/ 2956560 w 2956560"/>
              <a:gd name="connsiteY2" fmla="*/ 3434455 h 3434455"/>
              <a:gd name="connsiteX3" fmla="*/ 0 w 2956560"/>
              <a:gd name="connsiteY3" fmla="*/ 3434455 h 3434455"/>
            </a:gdLst>
            <a:ahLst/>
            <a:cxnLst>
              <a:cxn ang="0">
                <a:pos x="connsiteX0" y="connsiteY0"/>
              </a:cxn>
              <a:cxn ang="0">
                <a:pos x="connsiteX1" y="connsiteY1"/>
              </a:cxn>
              <a:cxn ang="0">
                <a:pos x="connsiteX2" y="connsiteY2"/>
              </a:cxn>
              <a:cxn ang="0">
                <a:pos x="connsiteX3" y="connsiteY3"/>
              </a:cxn>
            </a:cxnLst>
            <a:rect l="l" t="t" r="r" b="b"/>
            <a:pathLst>
              <a:path w="2956560" h="3434455">
                <a:moveTo>
                  <a:pt x="0" y="0"/>
                </a:moveTo>
                <a:lnTo>
                  <a:pt x="2956560" y="0"/>
                </a:lnTo>
                <a:lnTo>
                  <a:pt x="2956560" y="3434455"/>
                </a:lnTo>
                <a:lnTo>
                  <a:pt x="0" y="3434455"/>
                </a:lnTo>
                <a:close/>
              </a:path>
            </a:pathLst>
          </a:custGeom>
          <a:blipFill>
            <a:blip r:embed="rId2"/>
            <a:stretch>
              <a:fillRect/>
            </a:stretch>
          </a:blipFill>
        </p:spPr>
        <p:txBody>
          <a:bodyPr wrap="square">
            <a:noAutofit/>
          </a:bodyPr>
          <a:lstStyle>
            <a:lvl1pPr marL="0" indent="0">
              <a:buNone/>
              <a:defRPr sz="1400"/>
            </a:lvl1pPr>
          </a:lstStyle>
          <a:p>
            <a:endParaRPr lang="en-US"/>
          </a:p>
        </p:txBody>
      </p:sp>
      <p:sp>
        <p:nvSpPr>
          <p:cNvPr id="3" name="Date Placeholder 2">
            <a:extLst>
              <a:ext uri="{FF2B5EF4-FFF2-40B4-BE49-F238E27FC236}">
                <a16:creationId xmlns:a16="http://schemas.microsoft.com/office/drawing/2014/main" id="{2BFB5E7F-908F-2C4A-929B-64A0CE7B7F86}"/>
              </a:ext>
            </a:extLst>
          </p:cNvPr>
          <p:cNvSpPr>
            <a:spLocks noGrp="1"/>
          </p:cNvSpPr>
          <p:nvPr>
            <p:ph type="dt" sz="half" idx="10"/>
          </p:nvPr>
        </p:nvSpPr>
        <p:spPr/>
        <p:txBody>
          <a:bodyPr/>
          <a:lstStyle/>
          <a:p>
            <a:fld id="{6A0C4EFF-7BB9-A045-B777-5D40845EB54B}" type="datetimeFigureOut">
              <a:rPr lang="en-US" smtClean="0"/>
              <a:t>4/15/2020</a:t>
            </a:fld>
            <a:endParaRPr lang="en-US" dirty="0"/>
          </a:p>
        </p:txBody>
      </p:sp>
      <p:sp>
        <p:nvSpPr>
          <p:cNvPr id="4" name="Footer Placeholder 3">
            <a:extLst>
              <a:ext uri="{FF2B5EF4-FFF2-40B4-BE49-F238E27FC236}">
                <a16:creationId xmlns:a16="http://schemas.microsoft.com/office/drawing/2014/main" id="{DDF5546F-56E9-2846-87FF-BC98E49B7F1E}"/>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217E0B1B-0A8B-9D4D-A4D6-0075006F06BB}"/>
              </a:ext>
            </a:extLst>
          </p:cNvPr>
          <p:cNvSpPr>
            <a:spLocks noGrp="1"/>
          </p:cNvSpPr>
          <p:nvPr>
            <p:ph type="sldNum" sz="quarter" idx="12"/>
          </p:nvPr>
        </p:nvSpPr>
        <p:spPr/>
        <p:txBody>
          <a:bodyPr/>
          <a:lstStyle/>
          <a:p>
            <a:fld id="{3BA69586-E6B3-B646-96E5-E7A8350A3CCE}" type="slidenum">
              <a:rPr lang="en-US" smtClean="0"/>
              <a:pPr/>
              <a:t>‹#›</a:t>
            </a:fld>
            <a:endParaRPr lang="en-US" dirty="0"/>
          </a:p>
        </p:txBody>
      </p:sp>
    </p:spTree>
    <p:extLst>
      <p:ext uri="{BB962C8B-B14F-4D97-AF65-F5344CB8AC3E}">
        <p14:creationId xmlns:p14="http://schemas.microsoft.com/office/powerpoint/2010/main" val="17822090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997A0733-3CD3-5A4F-812A-1B826F6C6EEF}"/>
              </a:ext>
            </a:extLst>
          </p:cNvPr>
          <p:cNvSpPr>
            <a:spLocks noGrp="1"/>
          </p:cNvSpPr>
          <p:nvPr>
            <p:ph type="pic" sz="quarter" idx="13"/>
          </p:nvPr>
        </p:nvSpPr>
        <p:spPr>
          <a:xfrm>
            <a:off x="0" y="0"/>
            <a:ext cx="6864840" cy="6858000"/>
          </a:xfrm>
          <a:custGeom>
            <a:avLst/>
            <a:gdLst>
              <a:gd name="connsiteX0" fmla="*/ 0 w 6864840"/>
              <a:gd name="connsiteY0" fmla="*/ 0 h 6858000"/>
              <a:gd name="connsiteX1" fmla="*/ 6864840 w 6864840"/>
              <a:gd name="connsiteY1" fmla="*/ 0 h 6858000"/>
              <a:gd name="connsiteX2" fmla="*/ 6864840 w 6864840"/>
              <a:gd name="connsiteY2" fmla="*/ 6858000 h 6858000"/>
              <a:gd name="connsiteX3" fmla="*/ 0 w 686484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64840" h="6858000">
                <a:moveTo>
                  <a:pt x="0" y="0"/>
                </a:moveTo>
                <a:lnTo>
                  <a:pt x="6864840" y="0"/>
                </a:lnTo>
                <a:lnTo>
                  <a:pt x="6864840" y="6858000"/>
                </a:lnTo>
                <a:lnTo>
                  <a:pt x="0" y="6858000"/>
                </a:lnTo>
                <a:close/>
              </a:path>
            </a:pathLst>
          </a:custGeom>
          <a:noFill/>
        </p:spPr>
        <p:txBody>
          <a:bodyPr wrap="square">
            <a:noAutofit/>
          </a:bodyPr>
          <a:lstStyle>
            <a:lvl1pPr marL="0" indent="0">
              <a:buNone/>
              <a:defRPr sz="1400"/>
            </a:lvl1pPr>
          </a:lstStyle>
          <a:p>
            <a:endParaRPr lang="en-US"/>
          </a:p>
        </p:txBody>
      </p:sp>
      <p:sp>
        <p:nvSpPr>
          <p:cNvPr id="3" name="Date Placeholder 2">
            <a:extLst>
              <a:ext uri="{FF2B5EF4-FFF2-40B4-BE49-F238E27FC236}">
                <a16:creationId xmlns:a16="http://schemas.microsoft.com/office/drawing/2014/main" id="{05326348-B42A-A149-9FF0-DA7D4B5046BD}"/>
              </a:ext>
            </a:extLst>
          </p:cNvPr>
          <p:cNvSpPr>
            <a:spLocks noGrp="1"/>
          </p:cNvSpPr>
          <p:nvPr>
            <p:ph type="dt" sz="half" idx="10"/>
          </p:nvPr>
        </p:nvSpPr>
        <p:spPr/>
        <p:txBody>
          <a:bodyPr/>
          <a:lstStyle/>
          <a:p>
            <a:fld id="{6A0C4EFF-7BB9-A045-B777-5D40845EB54B}" type="datetimeFigureOut">
              <a:rPr lang="en-US" smtClean="0"/>
              <a:t>4/15/2020</a:t>
            </a:fld>
            <a:endParaRPr lang="en-US" dirty="0"/>
          </a:p>
        </p:txBody>
      </p:sp>
      <p:sp>
        <p:nvSpPr>
          <p:cNvPr id="4" name="Footer Placeholder 3">
            <a:extLst>
              <a:ext uri="{FF2B5EF4-FFF2-40B4-BE49-F238E27FC236}">
                <a16:creationId xmlns:a16="http://schemas.microsoft.com/office/drawing/2014/main" id="{40B475E2-2083-CD43-BD3E-349D7BD329E9}"/>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90D7052C-EE24-8944-8D2E-B58A535E27F7}"/>
              </a:ext>
            </a:extLst>
          </p:cNvPr>
          <p:cNvSpPr>
            <a:spLocks noGrp="1"/>
          </p:cNvSpPr>
          <p:nvPr>
            <p:ph type="sldNum" sz="quarter" idx="12"/>
          </p:nvPr>
        </p:nvSpPr>
        <p:spPr/>
        <p:txBody>
          <a:bodyPr/>
          <a:lstStyle/>
          <a:p>
            <a:fld id="{3BA69586-E6B3-B646-96E5-E7A8350A3CCE}" type="slidenum">
              <a:rPr lang="en-US" smtClean="0"/>
              <a:pPr/>
              <a:t>‹#›</a:t>
            </a:fld>
            <a:endParaRPr lang="en-US" dirty="0"/>
          </a:p>
        </p:txBody>
      </p:sp>
    </p:spTree>
    <p:extLst>
      <p:ext uri="{BB962C8B-B14F-4D97-AF65-F5344CB8AC3E}">
        <p14:creationId xmlns:p14="http://schemas.microsoft.com/office/powerpoint/2010/main" val="32912973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524AF158-04A7-AC4F-847A-F8F4403DAC61}"/>
              </a:ext>
            </a:extLst>
          </p:cNvPr>
          <p:cNvSpPr>
            <a:spLocks noGrp="1"/>
          </p:cNvSpPr>
          <p:nvPr>
            <p:ph type="pic" sz="quarter" idx="13"/>
          </p:nvPr>
        </p:nvSpPr>
        <p:spPr>
          <a:xfrm>
            <a:off x="0" y="0"/>
            <a:ext cx="12192000" cy="3104444"/>
          </a:xfrm>
          <a:custGeom>
            <a:avLst/>
            <a:gdLst>
              <a:gd name="connsiteX0" fmla="*/ 0 w 12192000"/>
              <a:gd name="connsiteY0" fmla="*/ 0 h 3104444"/>
              <a:gd name="connsiteX1" fmla="*/ 12192000 w 12192000"/>
              <a:gd name="connsiteY1" fmla="*/ 0 h 3104444"/>
              <a:gd name="connsiteX2" fmla="*/ 12192000 w 12192000"/>
              <a:gd name="connsiteY2" fmla="*/ 3104444 h 3104444"/>
              <a:gd name="connsiteX3" fmla="*/ 0 w 12192000"/>
              <a:gd name="connsiteY3" fmla="*/ 3104444 h 3104444"/>
            </a:gdLst>
            <a:ahLst/>
            <a:cxnLst>
              <a:cxn ang="0">
                <a:pos x="connsiteX0" y="connsiteY0"/>
              </a:cxn>
              <a:cxn ang="0">
                <a:pos x="connsiteX1" y="connsiteY1"/>
              </a:cxn>
              <a:cxn ang="0">
                <a:pos x="connsiteX2" y="connsiteY2"/>
              </a:cxn>
              <a:cxn ang="0">
                <a:pos x="connsiteX3" y="connsiteY3"/>
              </a:cxn>
            </a:cxnLst>
            <a:rect l="l" t="t" r="r" b="b"/>
            <a:pathLst>
              <a:path w="12192000" h="3104444">
                <a:moveTo>
                  <a:pt x="0" y="0"/>
                </a:moveTo>
                <a:lnTo>
                  <a:pt x="12192000" y="0"/>
                </a:lnTo>
                <a:lnTo>
                  <a:pt x="12192000" y="3104444"/>
                </a:lnTo>
                <a:lnTo>
                  <a:pt x="0" y="3104444"/>
                </a:lnTo>
                <a:close/>
              </a:path>
            </a:pathLst>
          </a:custGeom>
          <a:blipFill>
            <a:blip r:embed="rId2"/>
            <a:stretch>
              <a:fillRect/>
            </a:stretch>
          </a:blipFill>
        </p:spPr>
        <p:txBody>
          <a:bodyPr wrap="square">
            <a:noAutofit/>
          </a:bodyPr>
          <a:lstStyle>
            <a:lvl1pPr marL="0" indent="0">
              <a:buNone/>
              <a:defRPr sz="1400"/>
            </a:lvl1pPr>
          </a:lstStyle>
          <a:p>
            <a:endParaRPr lang="en-US"/>
          </a:p>
        </p:txBody>
      </p:sp>
      <p:sp>
        <p:nvSpPr>
          <p:cNvPr id="3" name="Date Placeholder 2">
            <a:extLst>
              <a:ext uri="{FF2B5EF4-FFF2-40B4-BE49-F238E27FC236}">
                <a16:creationId xmlns:a16="http://schemas.microsoft.com/office/drawing/2014/main" id="{E6605D11-153C-7647-9BED-905A72516A53}"/>
              </a:ext>
            </a:extLst>
          </p:cNvPr>
          <p:cNvSpPr>
            <a:spLocks noGrp="1"/>
          </p:cNvSpPr>
          <p:nvPr>
            <p:ph type="dt" sz="half" idx="10"/>
          </p:nvPr>
        </p:nvSpPr>
        <p:spPr/>
        <p:txBody>
          <a:bodyPr/>
          <a:lstStyle/>
          <a:p>
            <a:fld id="{6A0C4EFF-7BB9-A045-B777-5D40845EB54B}" type="datetimeFigureOut">
              <a:rPr lang="en-US" smtClean="0"/>
              <a:t>4/15/2020</a:t>
            </a:fld>
            <a:endParaRPr lang="en-US" dirty="0"/>
          </a:p>
        </p:txBody>
      </p:sp>
      <p:sp>
        <p:nvSpPr>
          <p:cNvPr id="4" name="Footer Placeholder 3">
            <a:extLst>
              <a:ext uri="{FF2B5EF4-FFF2-40B4-BE49-F238E27FC236}">
                <a16:creationId xmlns:a16="http://schemas.microsoft.com/office/drawing/2014/main" id="{853F176A-1AFA-1C4A-8220-07C739C5556B}"/>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54D9C9DC-771F-5742-8B40-338B592D7E79}"/>
              </a:ext>
            </a:extLst>
          </p:cNvPr>
          <p:cNvSpPr>
            <a:spLocks noGrp="1"/>
          </p:cNvSpPr>
          <p:nvPr>
            <p:ph type="sldNum" sz="quarter" idx="12"/>
          </p:nvPr>
        </p:nvSpPr>
        <p:spPr/>
        <p:txBody>
          <a:bodyPr/>
          <a:lstStyle/>
          <a:p>
            <a:fld id="{3BA69586-E6B3-B646-96E5-E7A8350A3CCE}" type="slidenum">
              <a:rPr lang="en-US" smtClean="0"/>
              <a:pPr/>
              <a:t>‹#›</a:t>
            </a:fld>
            <a:endParaRPr lang="en-US" dirty="0"/>
          </a:p>
        </p:txBody>
      </p:sp>
    </p:spTree>
    <p:extLst>
      <p:ext uri="{BB962C8B-B14F-4D97-AF65-F5344CB8AC3E}">
        <p14:creationId xmlns:p14="http://schemas.microsoft.com/office/powerpoint/2010/main" val="211052503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0" name="Picture Placeholder 29">
            <a:extLst>
              <a:ext uri="{FF2B5EF4-FFF2-40B4-BE49-F238E27FC236}">
                <a16:creationId xmlns:a16="http://schemas.microsoft.com/office/drawing/2014/main" id="{8A85BB2C-7FE8-484F-A041-BC1EF677B721}"/>
              </a:ext>
            </a:extLst>
          </p:cNvPr>
          <p:cNvSpPr>
            <a:spLocks noGrp="1"/>
          </p:cNvSpPr>
          <p:nvPr>
            <p:ph type="pic" sz="quarter" idx="18"/>
          </p:nvPr>
        </p:nvSpPr>
        <p:spPr>
          <a:xfrm>
            <a:off x="9807076" y="2587590"/>
            <a:ext cx="1682820" cy="1682820"/>
          </a:xfrm>
          <a:custGeom>
            <a:avLst/>
            <a:gdLst>
              <a:gd name="connsiteX0" fmla="*/ 841410 w 1682820"/>
              <a:gd name="connsiteY0" fmla="*/ 0 h 1682820"/>
              <a:gd name="connsiteX1" fmla="*/ 1682820 w 1682820"/>
              <a:gd name="connsiteY1" fmla="*/ 841410 h 1682820"/>
              <a:gd name="connsiteX2" fmla="*/ 841410 w 1682820"/>
              <a:gd name="connsiteY2" fmla="*/ 1682820 h 1682820"/>
              <a:gd name="connsiteX3" fmla="*/ 0 w 1682820"/>
              <a:gd name="connsiteY3" fmla="*/ 841410 h 1682820"/>
              <a:gd name="connsiteX4" fmla="*/ 841410 w 1682820"/>
              <a:gd name="connsiteY4" fmla="*/ 0 h 168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2820" h="1682820">
                <a:moveTo>
                  <a:pt x="841410" y="0"/>
                </a:moveTo>
                <a:cubicBezTo>
                  <a:pt x="1306108" y="0"/>
                  <a:pt x="1682820" y="376712"/>
                  <a:pt x="1682820" y="841410"/>
                </a:cubicBezTo>
                <a:cubicBezTo>
                  <a:pt x="1682820" y="1306108"/>
                  <a:pt x="1306108" y="1682820"/>
                  <a:pt x="841410" y="1682820"/>
                </a:cubicBezTo>
                <a:cubicBezTo>
                  <a:pt x="376712" y="1682820"/>
                  <a:pt x="0" y="1306108"/>
                  <a:pt x="0" y="841410"/>
                </a:cubicBezTo>
                <a:cubicBezTo>
                  <a:pt x="0" y="376712"/>
                  <a:pt x="376712" y="0"/>
                  <a:pt x="841410" y="0"/>
                </a:cubicBezTo>
                <a:close/>
              </a:path>
            </a:pathLst>
          </a:custGeom>
          <a:blipFill>
            <a:blip r:embed="rId2"/>
            <a:stretch>
              <a:fillRect/>
            </a:stretch>
          </a:blipFill>
          <a:effectLst>
            <a:outerShdw blurRad="63500" dist="38100" dir="2700000" algn="tl" rotWithShape="0">
              <a:prstClr val="black">
                <a:alpha val="15000"/>
              </a:prstClr>
            </a:outerShdw>
          </a:effectLst>
        </p:spPr>
        <p:txBody>
          <a:bodyPr wrap="square">
            <a:noAutofit/>
          </a:bodyPr>
          <a:lstStyle>
            <a:lvl1pPr marL="0" indent="0">
              <a:buNone/>
              <a:defRPr sz="1400"/>
            </a:lvl1pPr>
          </a:lstStyle>
          <a:p>
            <a:endParaRPr lang="en-US"/>
          </a:p>
        </p:txBody>
      </p:sp>
      <p:sp>
        <p:nvSpPr>
          <p:cNvPr id="27" name="Picture Placeholder 26">
            <a:extLst>
              <a:ext uri="{FF2B5EF4-FFF2-40B4-BE49-F238E27FC236}">
                <a16:creationId xmlns:a16="http://schemas.microsoft.com/office/drawing/2014/main" id="{9878CFE7-3731-8D43-B753-978E65A3FBB8}"/>
              </a:ext>
            </a:extLst>
          </p:cNvPr>
          <p:cNvSpPr>
            <a:spLocks noGrp="1"/>
          </p:cNvSpPr>
          <p:nvPr>
            <p:ph type="pic" sz="quarter" idx="17"/>
          </p:nvPr>
        </p:nvSpPr>
        <p:spPr>
          <a:xfrm>
            <a:off x="7530834" y="2587590"/>
            <a:ext cx="1682820" cy="1682820"/>
          </a:xfrm>
          <a:custGeom>
            <a:avLst/>
            <a:gdLst>
              <a:gd name="connsiteX0" fmla="*/ 841410 w 1682820"/>
              <a:gd name="connsiteY0" fmla="*/ 0 h 1682820"/>
              <a:gd name="connsiteX1" fmla="*/ 1682820 w 1682820"/>
              <a:gd name="connsiteY1" fmla="*/ 841410 h 1682820"/>
              <a:gd name="connsiteX2" fmla="*/ 841410 w 1682820"/>
              <a:gd name="connsiteY2" fmla="*/ 1682820 h 1682820"/>
              <a:gd name="connsiteX3" fmla="*/ 0 w 1682820"/>
              <a:gd name="connsiteY3" fmla="*/ 841410 h 1682820"/>
              <a:gd name="connsiteX4" fmla="*/ 841410 w 1682820"/>
              <a:gd name="connsiteY4" fmla="*/ 0 h 168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2820" h="1682820">
                <a:moveTo>
                  <a:pt x="841410" y="0"/>
                </a:moveTo>
                <a:cubicBezTo>
                  <a:pt x="1306108" y="0"/>
                  <a:pt x="1682820" y="376712"/>
                  <a:pt x="1682820" y="841410"/>
                </a:cubicBezTo>
                <a:cubicBezTo>
                  <a:pt x="1682820" y="1306108"/>
                  <a:pt x="1306108" y="1682820"/>
                  <a:pt x="841410" y="1682820"/>
                </a:cubicBezTo>
                <a:cubicBezTo>
                  <a:pt x="376712" y="1682820"/>
                  <a:pt x="0" y="1306108"/>
                  <a:pt x="0" y="841410"/>
                </a:cubicBezTo>
                <a:cubicBezTo>
                  <a:pt x="0" y="376712"/>
                  <a:pt x="376712" y="0"/>
                  <a:pt x="841410" y="0"/>
                </a:cubicBezTo>
                <a:close/>
              </a:path>
            </a:pathLst>
          </a:custGeom>
          <a:blipFill>
            <a:blip r:embed="rId2"/>
            <a:stretch>
              <a:fillRect/>
            </a:stretch>
          </a:blipFill>
          <a:effectLst>
            <a:outerShdw blurRad="63500" dist="38100" dir="2700000" algn="tl" rotWithShape="0">
              <a:prstClr val="black">
                <a:alpha val="15000"/>
              </a:prstClr>
            </a:outerShdw>
          </a:effectLst>
        </p:spPr>
        <p:txBody>
          <a:bodyPr wrap="square">
            <a:noAutofit/>
          </a:bodyPr>
          <a:lstStyle>
            <a:lvl1pPr marL="0" indent="0">
              <a:buNone/>
              <a:defRPr sz="1400"/>
            </a:lvl1pPr>
          </a:lstStyle>
          <a:p>
            <a:endParaRPr lang="en-US"/>
          </a:p>
        </p:txBody>
      </p:sp>
      <p:sp>
        <p:nvSpPr>
          <p:cNvPr id="24" name="Picture Placeholder 23">
            <a:extLst>
              <a:ext uri="{FF2B5EF4-FFF2-40B4-BE49-F238E27FC236}">
                <a16:creationId xmlns:a16="http://schemas.microsoft.com/office/drawing/2014/main" id="{B471B28D-13CE-5B49-B9ED-2AB113AC405B}"/>
              </a:ext>
            </a:extLst>
          </p:cNvPr>
          <p:cNvSpPr>
            <a:spLocks noGrp="1"/>
          </p:cNvSpPr>
          <p:nvPr>
            <p:ph type="pic" sz="quarter" idx="16"/>
          </p:nvPr>
        </p:nvSpPr>
        <p:spPr>
          <a:xfrm>
            <a:off x="5254591" y="2587590"/>
            <a:ext cx="1682820" cy="1682820"/>
          </a:xfrm>
          <a:custGeom>
            <a:avLst/>
            <a:gdLst>
              <a:gd name="connsiteX0" fmla="*/ 841410 w 1682820"/>
              <a:gd name="connsiteY0" fmla="*/ 0 h 1682820"/>
              <a:gd name="connsiteX1" fmla="*/ 1682820 w 1682820"/>
              <a:gd name="connsiteY1" fmla="*/ 841410 h 1682820"/>
              <a:gd name="connsiteX2" fmla="*/ 841410 w 1682820"/>
              <a:gd name="connsiteY2" fmla="*/ 1682820 h 1682820"/>
              <a:gd name="connsiteX3" fmla="*/ 0 w 1682820"/>
              <a:gd name="connsiteY3" fmla="*/ 841410 h 1682820"/>
              <a:gd name="connsiteX4" fmla="*/ 841410 w 1682820"/>
              <a:gd name="connsiteY4" fmla="*/ 0 h 168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2820" h="1682820">
                <a:moveTo>
                  <a:pt x="841410" y="0"/>
                </a:moveTo>
                <a:cubicBezTo>
                  <a:pt x="1306108" y="0"/>
                  <a:pt x="1682820" y="376712"/>
                  <a:pt x="1682820" y="841410"/>
                </a:cubicBezTo>
                <a:cubicBezTo>
                  <a:pt x="1682820" y="1306108"/>
                  <a:pt x="1306108" y="1682820"/>
                  <a:pt x="841410" y="1682820"/>
                </a:cubicBezTo>
                <a:cubicBezTo>
                  <a:pt x="376712" y="1682820"/>
                  <a:pt x="0" y="1306108"/>
                  <a:pt x="0" y="841410"/>
                </a:cubicBezTo>
                <a:cubicBezTo>
                  <a:pt x="0" y="376712"/>
                  <a:pt x="376712" y="0"/>
                  <a:pt x="841410" y="0"/>
                </a:cubicBezTo>
                <a:close/>
              </a:path>
            </a:pathLst>
          </a:custGeom>
          <a:blipFill>
            <a:blip r:embed="rId2"/>
            <a:stretch>
              <a:fillRect/>
            </a:stretch>
          </a:blipFill>
          <a:effectLst>
            <a:outerShdw blurRad="63500" dist="38100" dir="2700000" algn="tl" rotWithShape="0">
              <a:prstClr val="black">
                <a:alpha val="15000"/>
              </a:prstClr>
            </a:outerShdw>
          </a:effectLst>
        </p:spPr>
        <p:txBody>
          <a:bodyPr wrap="square">
            <a:noAutofit/>
          </a:bodyPr>
          <a:lstStyle>
            <a:lvl1pPr marL="0" indent="0">
              <a:buNone/>
              <a:defRPr sz="1400"/>
            </a:lvl1pPr>
          </a:lstStyle>
          <a:p>
            <a:endParaRPr lang="en-US"/>
          </a:p>
        </p:txBody>
      </p:sp>
      <p:sp>
        <p:nvSpPr>
          <p:cNvPr id="21" name="Picture Placeholder 20">
            <a:extLst>
              <a:ext uri="{FF2B5EF4-FFF2-40B4-BE49-F238E27FC236}">
                <a16:creationId xmlns:a16="http://schemas.microsoft.com/office/drawing/2014/main" id="{6F7E18D7-DCE7-5947-8320-0A270E742B7A}"/>
              </a:ext>
            </a:extLst>
          </p:cNvPr>
          <p:cNvSpPr>
            <a:spLocks noGrp="1"/>
          </p:cNvSpPr>
          <p:nvPr>
            <p:ph type="pic" sz="quarter" idx="15"/>
          </p:nvPr>
        </p:nvSpPr>
        <p:spPr>
          <a:xfrm>
            <a:off x="2978348" y="2587590"/>
            <a:ext cx="1682820" cy="1682820"/>
          </a:xfrm>
          <a:custGeom>
            <a:avLst/>
            <a:gdLst>
              <a:gd name="connsiteX0" fmla="*/ 841410 w 1682820"/>
              <a:gd name="connsiteY0" fmla="*/ 0 h 1682820"/>
              <a:gd name="connsiteX1" fmla="*/ 1682820 w 1682820"/>
              <a:gd name="connsiteY1" fmla="*/ 841410 h 1682820"/>
              <a:gd name="connsiteX2" fmla="*/ 841410 w 1682820"/>
              <a:gd name="connsiteY2" fmla="*/ 1682820 h 1682820"/>
              <a:gd name="connsiteX3" fmla="*/ 0 w 1682820"/>
              <a:gd name="connsiteY3" fmla="*/ 841410 h 1682820"/>
              <a:gd name="connsiteX4" fmla="*/ 841410 w 1682820"/>
              <a:gd name="connsiteY4" fmla="*/ 0 h 168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2820" h="1682820">
                <a:moveTo>
                  <a:pt x="841410" y="0"/>
                </a:moveTo>
                <a:cubicBezTo>
                  <a:pt x="1306108" y="0"/>
                  <a:pt x="1682820" y="376712"/>
                  <a:pt x="1682820" y="841410"/>
                </a:cubicBezTo>
                <a:cubicBezTo>
                  <a:pt x="1682820" y="1306108"/>
                  <a:pt x="1306108" y="1682820"/>
                  <a:pt x="841410" y="1682820"/>
                </a:cubicBezTo>
                <a:cubicBezTo>
                  <a:pt x="376712" y="1682820"/>
                  <a:pt x="0" y="1306108"/>
                  <a:pt x="0" y="841410"/>
                </a:cubicBezTo>
                <a:cubicBezTo>
                  <a:pt x="0" y="376712"/>
                  <a:pt x="376712" y="0"/>
                  <a:pt x="841410" y="0"/>
                </a:cubicBezTo>
                <a:close/>
              </a:path>
            </a:pathLst>
          </a:custGeom>
          <a:blipFill>
            <a:blip r:embed="rId2"/>
            <a:stretch>
              <a:fillRect/>
            </a:stretch>
          </a:blipFill>
          <a:effectLst>
            <a:outerShdw blurRad="63500" dist="38100" dir="2700000" algn="tl" rotWithShape="0">
              <a:prstClr val="black">
                <a:alpha val="15000"/>
              </a:prstClr>
            </a:outerShdw>
          </a:effectLst>
        </p:spPr>
        <p:txBody>
          <a:bodyPr wrap="square">
            <a:noAutofit/>
          </a:bodyPr>
          <a:lstStyle>
            <a:lvl1pPr marL="0" indent="0">
              <a:buNone/>
              <a:defRPr sz="1400"/>
            </a:lvl1pPr>
          </a:lstStyle>
          <a:p>
            <a:endParaRPr lang="en-US"/>
          </a:p>
        </p:txBody>
      </p:sp>
      <p:sp>
        <p:nvSpPr>
          <p:cNvPr id="18" name="Picture Placeholder 17">
            <a:extLst>
              <a:ext uri="{FF2B5EF4-FFF2-40B4-BE49-F238E27FC236}">
                <a16:creationId xmlns:a16="http://schemas.microsoft.com/office/drawing/2014/main" id="{DFC038B6-21B2-674F-B5A3-15C77E067392}"/>
              </a:ext>
            </a:extLst>
          </p:cNvPr>
          <p:cNvSpPr>
            <a:spLocks noGrp="1"/>
          </p:cNvSpPr>
          <p:nvPr>
            <p:ph type="pic" sz="quarter" idx="14"/>
          </p:nvPr>
        </p:nvSpPr>
        <p:spPr>
          <a:xfrm>
            <a:off x="702105" y="2587590"/>
            <a:ext cx="1682820" cy="1682820"/>
          </a:xfrm>
          <a:custGeom>
            <a:avLst/>
            <a:gdLst>
              <a:gd name="connsiteX0" fmla="*/ 841410 w 1682820"/>
              <a:gd name="connsiteY0" fmla="*/ 0 h 1682820"/>
              <a:gd name="connsiteX1" fmla="*/ 1682820 w 1682820"/>
              <a:gd name="connsiteY1" fmla="*/ 841410 h 1682820"/>
              <a:gd name="connsiteX2" fmla="*/ 841410 w 1682820"/>
              <a:gd name="connsiteY2" fmla="*/ 1682820 h 1682820"/>
              <a:gd name="connsiteX3" fmla="*/ 0 w 1682820"/>
              <a:gd name="connsiteY3" fmla="*/ 841410 h 1682820"/>
              <a:gd name="connsiteX4" fmla="*/ 841410 w 1682820"/>
              <a:gd name="connsiteY4" fmla="*/ 0 h 1682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2820" h="1682820">
                <a:moveTo>
                  <a:pt x="841410" y="0"/>
                </a:moveTo>
                <a:cubicBezTo>
                  <a:pt x="1306108" y="0"/>
                  <a:pt x="1682820" y="376712"/>
                  <a:pt x="1682820" y="841410"/>
                </a:cubicBezTo>
                <a:cubicBezTo>
                  <a:pt x="1682820" y="1306108"/>
                  <a:pt x="1306108" y="1682820"/>
                  <a:pt x="841410" y="1682820"/>
                </a:cubicBezTo>
                <a:cubicBezTo>
                  <a:pt x="376712" y="1682820"/>
                  <a:pt x="0" y="1306108"/>
                  <a:pt x="0" y="841410"/>
                </a:cubicBezTo>
                <a:cubicBezTo>
                  <a:pt x="0" y="376712"/>
                  <a:pt x="376712" y="0"/>
                  <a:pt x="841410" y="0"/>
                </a:cubicBezTo>
                <a:close/>
              </a:path>
            </a:pathLst>
          </a:custGeom>
          <a:blipFill>
            <a:blip r:embed="rId2"/>
            <a:stretch>
              <a:fillRect/>
            </a:stretch>
          </a:blipFill>
          <a:effectLst>
            <a:outerShdw blurRad="63500" dist="38100" dir="2700000" algn="tl" rotWithShape="0">
              <a:prstClr val="black">
                <a:alpha val="15000"/>
              </a:prstClr>
            </a:outerShdw>
          </a:effectLst>
        </p:spPr>
        <p:txBody>
          <a:bodyPr wrap="square">
            <a:noAutofit/>
          </a:bodyPr>
          <a:lstStyle>
            <a:lvl1pPr marL="0" indent="0">
              <a:buNone/>
              <a:defRPr sz="1400"/>
            </a:lvl1pPr>
          </a:lstStyle>
          <a:p>
            <a:endParaRPr lang="en-US"/>
          </a:p>
        </p:txBody>
      </p:sp>
      <p:sp>
        <p:nvSpPr>
          <p:cNvPr id="9" name="Picture Placeholder 8">
            <a:extLst>
              <a:ext uri="{FF2B5EF4-FFF2-40B4-BE49-F238E27FC236}">
                <a16:creationId xmlns:a16="http://schemas.microsoft.com/office/drawing/2014/main" id="{5F10098E-0545-5743-AF63-C8F2B1A553FF}"/>
              </a:ext>
            </a:extLst>
          </p:cNvPr>
          <p:cNvSpPr>
            <a:spLocks noGrp="1"/>
          </p:cNvSpPr>
          <p:nvPr>
            <p:ph type="pic" sz="quarter" idx="13"/>
          </p:nvPr>
        </p:nvSpPr>
        <p:spPr>
          <a:xfrm>
            <a:off x="0" y="0"/>
            <a:ext cx="12192000" cy="3429000"/>
          </a:xfrm>
          <a:custGeom>
            <a:avLst/>
            <a:gdLst>
              <a:gd name="connsiteX0" fmla="*/ 0 w 12192000"/>
              <a:gd name="connsiteY0" fmla="*/ 0 h 3429000"/>
              <a:gd name="connsiteX1" fmla="*/ 12192000 w 12192000"/>
              <a:gd name="connsiteY1" fmla="*/ 0 h 3429000"/>
              <a:gd name="connsiteX2" fmla="*/ 12192000 w 12192000"/>
              <a:gd name="connsiteY2" fmla="*/ 3429000 h 3429000"/>
              <a:gd name="connsiteX3" fmla="*/ 0 w 12192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12192000" h="3429000">
                <a:moveTo>
                  <a:pt x="0" y="0"/>
                </a:moveTo>
                <a:lnTo>
                  <a:pt x="12192000" y="0"/>
                </a:lnTo>
                <a:lnTo>
                  <a:pt x="12192000" y="3429000"/>
                </a:lnTo>
                <a:lnTo>
                  <a:pt x="0" y="3429000"/>
                </a:lnTo>
                <a:close/>
              </a:path>
            </a:pathLst>
          </a:custGeom>
          <a:blipFill>
            <a:blip r:embed="rId2"/>
            <a:stretch>
              <a:fillRect/>
            </a:stretch>
          </a:blipFill>
        </p:spPr>
        <p:txBody>
          <a:bodyPr wrap="square">
            <a:noAutofit/>
          </a:bodyPr>
          <a:lstStyle>
            <a:lvl1pPr marL="0" indent="0">
              <a:buNone/>
              <a:defRPr sz="1400"/>
            </a:lvl1pPr>
          </a:lstStyle>
          <a:p>
            <a:endParaRPr lang="en-US"/>
          </a:p>
        </p:txBody>
      </p:sp>
      <p:sp>
        <p:nvSpPr>
          <p:cNvPr id="3" name="Date Placeholder 2">
            <a:extLst>
              <a:ext uri="{FF2B5EF4-FFF2-40B4-BE49-F238E27FC236}">
                <a16:creationId xmlns:a16="http://schemas.microsoft.com/office/drawing/2014/main" id="{074E9D67-7794-4841-AB2B-1B16D50AC1C5}"/>
              </a:ext>
            </a:extLst>
          </p:cNvPr>
          <p:cNvSpPr>
            <a:spLocks noGrp="1"/>
          </p:cNvSpPr>
          <p:nvPr>
            <p:ph type="dt" sz="half" idx="10"/>
          </p:nvPr>
        </p:nvSpPr>
        <p:spPr/>
        <p:txBody>
          <a:bodyPr/>
          <a:lstStyle/>
          <a:p>
            <a:fld id="{6A0C4EFF-7BB9-A045-B777-5D40845EB54B}" type="datetimeFigureOut">
              <a:rPr lang="en-US" smtClean="0"/>
              <a:t>4/15/2020</a:t>
            </a:fld>
            <a:endParaRPr lang="en-US" dirty="0"/>
          </a:p>
        </p:txBody>
      </p:sp>
      <p:sp>
        <p:nvSpPr>
          <p:cNvPr id="4" name="Footer Placeholder 3">
            <a:extLst>
              <a:ext uri="{FF2B5EF4-FFF2-40B4-BE49-F238E27FC236}">
                <a16:creationId xmlns:a16="http://schemas.microsoft.com/office/drawing/2014/main" id="{B11C1C78-BFE8-4847-8754-32787E7303BC}"/>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DC402592-F2C7-EF4D-82D6-9FC8D24E53E3}"/>
              </a:ext>
            </a:extLst>
          </p:cNvPr>
          <p:cNvSpPr>
            <a:spLocks noGrp="1"/>
          </p:cNvSpPr>
          <p:nvPr>
            <p:ph type="sldNum" sz="quarter" idx="12"/>
          </p:nvPr>
        </p:nvSpPr>
        <p:spPr/>
        <p:txBody>
          <a:bodyPr/>
          <a:lstStyle/>
          <a:p>
            <a:fld id="{3BA69586-E6B3-B646-96E5-E7A8350A3CCE}" type="slidenum">
              <a:rPr lang="en-US" smtClean="0"/>
              <a:pPr/>
              <a:t>‹#›</a:t>
            </a:fld>
            <a:endParaRPr lang="en-US" dirty="0"/>
          </a:p>
        </p:txBody>
      </p:sp>
    </p:spTree>
    <p:extLst>
      <p:ext uri="{BB962C8B-B14F-4D97-AF65-F5344CB8AC3E}">
        <p14:creationId xmlns:p14="http://schemas.microsoft.com/office/powerpoint/2010/main" val="147109270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C59730AA-82A9-AE4F-A37C-CB00940E386D}"/>
              </a:ext>
            </a:extLst>
          </p:cNvPr>
          <p:cNvSpPr>
            <a:spLocks noGrp="1"/>
          </p:cNvSpPr>
          <p:nvPr>
            <p:ph type="pic" sz="quarter" idx="13"/>
          </p:nvPr>
        </p:nvSpPr>
        <p:spPr>
          <a:xfrm>
            <a:off x="0" y="1848256"/>
            <a:ext cx="12192000" cy="3920247"/>
          </a:xfrm>
          <a:custGeom>
            <a:avLst/>
            <a:gdLst>
              <a:gd name="connsiteX0" fmla="*/ 0 w 12192000"/>
              <a:gd name="connsiteY0" fmla="*/ 0 h 3920247"/>
              <a:gd name="connsiteX1" fmla="*/ 12192000 w 12192000"/>
              <a:gd name="connsiteY1" fmla="*/ 0 h 3920247"/>
              <a:gd name="connsiteX2" fmla="*/ 12192000 w 12192000"/>
              <a:gd name="connsiteY2" fmla="*/ 3920247 h 3920247"/>
              <a:gd name="connsiteX3" fmla="*/ 0 w 12192000"/>
              <a:gd name="connsiteY3" fmla="*/ 3920247 h 3920247"/>
            </a:gdLst>
            <a:ahLst/>
            <a:cxnLst>
              <a:cxn ang="0">
                <a:pos x="connsiteX0" y="connsiteY0"/>
              </a:cxn>
              <a:cxn ang="0">
                <a:pos x="connsiteX1" y="connsiteY1"/>
              </a:cxn>
              <a:cxn ang="0">
                <a:pos x="connsiteX2" y="connsiteY2"/>
              </a:cxn>
              <a:cxn ang="0">
                <a:pos x="connsiteX3" y="connsiteY3"/>
              </a:cxn>
            </a:cxnLst>
            <a:rect l="l" t="t" r="r" b="b"/>
            <a:pathLst>
              <a:path w="12192000" h="3920247">
                <a:moveTo>
                  <a:pt x="0" y="0"/>
                </a:moveTo>
                <a:lnTo>
                  <a:pt x="12192000" y="0"/>
                </a:lnTo>
                <a:lnTo>
                  <a:pt x="12192000" y="3920247"/>
                </a:lnTo>
                <a:lnTo>
                  <a:pt x="0" y="3920247"/>
                </a:lnTo>
                <a:close/>
              </a:path>
            </a:pathLst>
          </a:custGeom>
          <a:blipFill>
            <a:blip r:embed="rId2"/>
            <a:stretch>
              <a:fillRect/>
            </a:stretch>
          </a:blipFill>
        </p:spPr>
        <p:txBody>
          <a:bodyPr wrap="square">
            <a:noAutofit/>
          </a:bodyPr>
          <a:lstStyle>
            <a:lvl1pPr marL="0" indent="0">
              <a:buNone/>
              <a:defRPr sz="1400"/>
            </a:lvl1pPr>
          </a:lstStyle>
          <a:p>
            <a:endParaRPr lang="en-US"/>
          </a:p>
        </p:txBody>
      </p:sp>
      <p:sp>
        <p:nvSpPr>
          <p:cNvPr id="3" name="Date Placeholder 2">
            <a:extLst>
              <a:ext uri="{FF2B5EF4-FFF2-40B4-BE49-F238E27FC236}">
                <a16:creationId xmlns:a16="http://schemas.microsoft.com/office/drawing/2014/main" id="{20EBD2BF-E1BE-1441-A7E4-07177C583C81}"/>
              </a:ext>
            </a:extLst>
          </p:cNvPr>
          <p:cNvSpPr>
            <a:spLocks noGrp="1"/>
          </p:cNvSpPr>
          <p:nvPr>
            <p:ph type="dt" sz="half" idx="10"/>
          </p:nvPr>
        </p:nvSpPr>
        <p:spPr/>
        <p:txBody>
          <a:bodyPr/>
          <a:lstStyle/>
          <a:p>
            <a:fld id="{6A0C4EFF-7BB9-A045-B777-5D40845EB54B}" type="datetimeFigureOut">
              <a:rPr lang="en-US" smtClean="0"/>
              <a:t>4/15/2020</a:t>
            </a:fld>
            <a:endParaRPr lang="en-US" dirty="0"/>
          </a:p>
        </p:txBody>
      </p:sp>
      <p:sp>
        <p:nvSpPr>
          <p:cNvPr id="4" name="Footer Placeholder 3">
            <a:extLst>
              <a:ext uri="{FF2B5EF4-FFF2-40B4-BE49-F238E27FC236}">
                <a16:creationId xmlns:a16="http://schemas.microsoft.com/office/drawing/2014/main" id="{C910BC55-E643-0740-9410-338A17047F1B}"/>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5CE3A1D9-9F6B-984F-89EC-1F19722AE563}"/>
              </a:ext>
            </a:extLst>
          </p:cNvPr>
          <p:cNvSpPr>
            <a:spLocks noGrp="1"/>
          </p:cNvSpPr>
          <p:nvPr>
            <p:ph type="sldNum" sz="quarter" idx="12"/>
          </p:nvPr>
        </p:nvSpPr>
        <p:spPr/>
        <p:txBody>
          <a:bodyPr/>
          <a:lstStyle/>
          <a:p>
            <a:fld id="{3BA69586-E6B3-B646-96E5-E7A8350A3CCE}" type="slidenum">
              <a:rPr lang="en-US" smtClean="0"/>
              <a:pPr/>
              <a:t>‹#›</a:t>
            </a:fld>
            <a:endParaRPr lang="en-US" dirty="0"/>
          </a:p>
        </p:txBody>
      </p:sp>
    </p:spTree>
    <p:extLst>
      <p:ext uri="{BB962C8B-B14F-4D97-AF65-F5344CB8AC3E}">
        <p14:creationId xmlns:p14="http://schemas.microsoft.com/office/powerpoint/2010/main" val="319013359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E771048C-6A9F-5340-B6C2-AEF354715CEB}"/>
              </a:ext>
            </a:extLst>
          </p:cNvPr>
          <p:cNvSpPr>
            <a:spLocks noGrp="1"/>
          </p:cNvSpPr>
          <p:nvPr>
            <p:ph type="pic" sz="quarter" idx="13"/>
          </p:nvPr>
        </p:nvSpPr>
        <p:spPr>
          <a:xfrm>
            <a:off x="7801583" y="1945532"/>
            <a:ext cx="3608962" cy="3425520"/>
          </a:xfrm>
          <a:custGeom>
            <a:avLst/>
            <a:gdLst>
              <a:gd name="connsiteX0" fmla="*/ 152641 w 3608962"/>
              <a:gd name="connsiteY0" fmla="*/ 0 h 3425520"/>
              <a:gd name="connsiteX1" fmla="*/ 3608962 w 3608962"/>
              <a:gd name="connsiteY1" fmla="*/ 0 h 3425520"/>
              <a:gd name="connsiteX2" fmla="*/ 3608962 w 3608962"/>
              <a:gd name="connsiteY2" fmla="*/ 3272879 h 3425520"/>
              <a:gd name="connsiteX3" fmla="*/ 3456321 w 3608962"/>
              <a:gd name="connsiteY3" fmla="*/ 3425520 h 3425520"/>
              <a:gd name="connsiteX4" fmla="*/ 0 w 3608962"/>
              <a:gd name="connsiteY4" fmla="*/ 3425520 h 3425520"/>
              <a:gd name="connsiteX5" fmla="*/ 0 w 3608962"/>
              <a:gd name="connsiteY5" fmla="*/ 152641 h 3425520"/>
              <a:gd name="connsiteX6" fmla="*/ 152641 w 3608962"/>
              <a:gd name="connsiteY6" fmla="*/ 0 h 3425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08962" h="3425520">
                <a:moveTo>
                  <a:pt x="152641" y="0"/>
                </a:moveTo>
                <a:lnTo>
                  <a:pt x="3608962" y="0"/>
                </a:lnTo>
                <a:lnTo>
                  <a:pt x="3608962" y="3272879"/>
                </a:lnTo>
                <a:cubicBezTo>
                  <a:pt x="3608962" y="3357180"/>
                  <a:pt x="3540622" y="3425520"/>
                  <a:pt x="3456321" y="3425520"/>
                </a:cubicBezTo>
                <a:lnTo>
                  <a:pt x="0" y="3425520"/>
                </a:lnTo>
                <a:lnTo>
                  <a:pt x="0" y="152641"/>
                </a:lnTo>
                <a:cubicBezTo>
                  <a:pt x="0" y="68340"/>
                  <a:pt x="68340" y="0"/>
                  <a:pt x="152641" y="0"/>
                </a:cubicBezTo>
                <a:close/>
              </a:path>
            </a:pathLst>
          </a:custGeom>
          <a:blipFill>
            <a:blip r:embed="rId2"/>
            <a:stretch>
              <a:fillRect/>
            </a:stretch>
          </a:blipFill>
          <a:effectLst>
            <a:outerShdw blurRad="63500" dist="25400" dir="2700000" algn="tl" rotWithShape="0">
              <a:prstClr val="black">
                <a:alpha val="15000"/>
              </a:prstClr>
            </a:outerShdw>
          </a:effectLst>
        </p:spPr>
        <p:txBody>
          <a:bodyPr wrap="square">
            <a:noAutofit/>
          </a:bodyPr>
          <a:lstStyle>
            <a:lvl1pPr marL="0" indent="0">
              <a:buNone/>
              <a:defRPr sz="1400"/>
            </a:lvl1pPr>
          </a:lstStyle>
          <a:p>
            <a:endParaRPr lang="en-US"/>
          </a:p>
        </p:txBody>
      </p:sp>
      <p:sp>
        <p:nvSpPr>
          <p:cNvPr id="3" name="Date Placeholder 2">
            <a:extLst>
              <a:ext uri="{FF2B5EF4-FFF2-40B4-BE49-F238E27FC236}">
                <a16:creationId xmlns:a16="http://schemas.microsoft.com/office/drawing/2014/main" id="{1ED5DB70-1B0A-4749-AA87-EB7C3FB3CA87}"/>
              </a:ext>
            </a:extLst>
          </p:cNvPr>
          <p:cNvSpPr>
            <a:spLocks noGrp="1"/>
          </p:cNvSpPr>
          <p:nvPr>
            <p:ph type="dt" sz="half" idx="10"/>
          </p:nvPr>
        </p:nvSpPr>
        <p:spPr/>
        <p:txBody>
          <a:bodyPr/>
          <a:lstStyle/>
          <a:p>
            <a:fld id="{6A0C4EFF-7BB9-A045-B777-5D40845EB54B}" type="datetimeFigureOut">
              <a:rPr lang="en-US" smtClean="0"/>
              <a:t>4/15/2020</a:t>
            </a:fld>
            <a:endParaRPr lang="en-US" dirty="0"/>
          </a:p>
        </p:txBody>
      </p:sp>
      <p:sp>
        <p:nvSpPr>
          <p:cNvPr id="4" name="Footer Placeholder 3">
            <a:extLst>
              <a:ext uri="{FF2B5EF4-FFF2-40B4-BE49-F238E27FC236}">
                <a16:creationId xmlns:a16="http://schemas.microsoft.com/office/drawing/2014/main" id="{680377F7-A437-DD45-ADD0-36A2BD3118BB}"/>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42853239-0CBB-B341-8F40-553E87F273E0}"/>
              </a:ext>
            </a:extLst>
          </p:cNvPr>
          <p:cNvSpPr>
            <a:spLocks noGrp="1"/>
          </p:cNvSpPr>
          <p:nvPr>
            <p:ph type="sldNum" sz="quarter" idx="12"/>
          </p:nvPr>
        </p:nvSpPr>
        <p:spPr/>
        <p:txBody>
          <a:bodyPr/>
          <a:lstStyle/>
          <a:p>
            <a:fld id="{3BA69586-E6B3-B646-96E5-E7A8350A3CCE}" type="slidenum">
              <a:rPr lang="en-US" smtClean="0"/>
              <a:pPr/>
              <a:t>‹#›</a:t>
            </a:fld>
            <a:endParaRPr lang="en-US" dirty="0"/>
          </a:p>
        </p:txBody>
      </p:sp>
    </p:spTree>
    <p:extLst>
      <p:ext uri="{BB962C8B-B14F-4D97-AF65-F5344CB8AC3E}">
        <p14:creationId xmlns:p14="http://schemas.microsoft.com/office/powerpoint/2010/main" val="426605258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DB37571-FFF1-5940-AA16-1513A09D8E25}"/>
              </a:ext>
            </a:extLst>
          </p:cNvPr>
          <p:cNvSpPr>
            <a:spLocks noGrp="1"/>
          </p:cNvSpPr>
          <p:nvPr>
            <p:ph type="pic" sz="quarter" idx="13"/>
          </p:nvPr>
        </p:nvSpPr>
        <p:spPr>
          <a:xfrm>
            <a:off x="1" y="0"/>
            <a:ext cx="6827417" cy="6858000"/>
          </a:xfrm>
          <a:custGeom>
            <a:avLst/>
            <a:gdLst>
              <a:gd name="connsiteX0" fmla="*/ 0 w 6827417"/>
              <a:gd name="connsiteY0" fmla="*/ 0 h 6858000"/>
              <a:gd name="connsiteX1" fmla="*/ 2776462 w 6827417"/>
              <a:gd name="connsiteY1" fmla="*/ 0 h 6858000"/>
              <a:gd name="connsiteX2" fmla="*/ 3205537 w 6827417"/>
              <a:gd name="connsiteY2" fmla="*/ 0 h 6858000"/>
              <a:gd name="connsiteX3" fmla="*/ 6827417 w 6827417"/>
              <a:gd name="connsiteY3" fmla="*/ 0 h 6858000"/>
              <a:gd name="connsiteX4" fmla="*/ 3924728 w 6827417"/>
              <a:gd name="connsiteY4" fmla="*/ 6858000 h 6858000"/>
              <a:gd name="connsiteX5" fmla="*/ 3205537 w 6827417"/>
              <a:gd name="connsiteY5" fmla="*/ 6858000 h 6858000"/>
              <a:gd name="connsiteX6" fmla="*/ 1 w 6827417"/>
              <a:gd name="connsiteY6" fmla="*/ 6858000 h 6858000"/>
              <a:gd name="connsiteX7" fmla="*/ 0 w 6827417"/>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27417" h="6858000">
                <a:moveTo>
                  <a:pt x="0" y="0"/>
                </a:moveTo>
                <a:lnTo>
                  <a:pt x="2776462" y="0"/>
                </a:lnTo>
                <a:lnTo>
                  <a:pt x="3205537" y="0"/>
                </a:lnTo>
                <a:lnTo>
                  <a:pt x="6827417" y="0"/>
                </a:lnTo>
                <a:lnTo>
                  <a:pt x="3924728" y="6858000"/>
                </a:lnTo>
                <a:lnTo>
                  <a:pt x="3205537" y="6858000"/>
                </a:lnTo>
                <a:lnTo>
                  <a:pt x="1" y="6858000"/>
                </a:lnTo>
                <a:lnTo>
                  <a:pt x="0" y="6858000"/>
                </a:lnTo>
                <a:close/>
              </a:path>
            </a:pathLst>
          </a:custGeom>
          <a:blipFill>
            <a:blip r:embed="rId2"/>
            <a:stretch>
              <a:fillRect/>
            </a:stretch>
          </a:blipFill>
        </p:spPr>
        <p:txBody>
          <a:bodyPr wrap="square">
            <a:noAutofit/>
          </a:bodyPr>
          <a:lstStyle>
            <a:lvl1pPr marL="0" indent="0">
              <a:buNone/>
              <a:defRPr sz="1400"/>
            </a:lvl1pPr>
          </a:lstStyle>
          <a:p>
            <a:endParaRPr lang="en-US"/>
          </a:p>
        </p:txBody>
      </p:sp>
      <p:sp>
        <p:nvSpPr>
          <p:cNvPr id="3" name="Date Placeholder 2">
            <a:extLst>
              <a:ext uri="{FF2B5EF4-FFF2-40B4-BE49-F238E27FC236}">
                <a16:creationId xmlns:a16="http://schemas.microsoft.com/office/drawing/2014/main" id="{22F916BA-0131-C849-8B57-550F7DC7D256}"/>
              </a:ext>
            </a:extLst>
          </p:cNvPr>
          <p:cNvSpPr>
            <a:spLocks noGrp="1"/>
          </p:cNvSpPr>
          <p:nvPr>
            <p:ph type="dt" sz="half" idx="10"/>
          </p:nvPr>
        </p:nvSpPr>
        <p:spPr/>
        <p:txBody>
          <a:bodyPr/>
          <a:lstStyle/>
          <a:p>
            <a:fld id="{6A0C4EFF-7BB9-A045-B777-5D40845EB54B}" type="datetimeFigureOut">
              <a:rPr lang="en-US" smtClean="0"/>
              <a:t>4/15/2020</a:t>
            </a:fld>
            <a:endParaRPr lang="en-US" dirty="0"/>
          </a:p>
        </p:txBody>
      </p:sp>
      <p:sp>
        <p:nvSpPr>
          <p:cNvPr id="4" name="Footer Placeholder 3">
            <a:extLst>
              <a:ext uri="{FF2B5EF4-FFF2-40B4-BE49-F238E27FC236}">
                <a16:creationId xmlns:a16="http://schemas.microsoft.com/office/drawing/2014/main" id="{B8E06E12-FFD5-6B41-AC59-976BC646F821}"/>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6B121D01-859A-9041-B4F3-B8E9509D526A}"/>
              </a:ext>
            </a:extLst>
          </p:cNvPr>
          <p:cNvSpPr>
            <a:spLocks noGrp="1"/>
          </p:cNvSpPr>
          <p:nvPr>
            <p:ph type="sldNum" sz="quarter" idx="12"/>
          </p:nvPr>
        </p:nvSpPr>
        <p:spPr/>
        <p:txBody>
          <a:bodyPr/>
          <a:lstStyle/>
          <a:p>
            <a:fld id="{3BA69586-E6B3-B646-96E5-E7A8350A3CCE}" type="slidenum">
              <a:rPr lang="en-US" smtClean="0"/>
              <a:pPr/>
              <a:t>‹#›</a:t>
            </a:fld>
            <a:endParaRPr lang="en-US" dirty="0"/>
          </a:p>
        </p:txBody>
      </p:sp>
    </p:spTree>
    <p:extLst>
      <p:ext uri="{BB962C8B-B14F-4D97-AF65-F5344CB8AC3E}">
        <p14:creationId xmlns:p14="http://schemas.microsoft.com/office/powerpoint/2010/main" val="2924042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41A88A5B-4E0B-1A46-B757-597F8367B58E}"/>
              </a:ext>
            </a:extLst>
          </p:cNvPr>
          <p:cNvSpPr>
            <a:spLocks noGrp="1"/>
          </p:cNvSpPr>
          <p:nvPr>
            <p:ph type="pic" sz="quarter" idx="13"/>
          </p:nvPr>
        </p:nvSpPr>
        <p:spPr>
          <a:xfrm>
            <a:off x="0" y="0"/>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blipFill>
            <a:blip r:embed="rId2"/>
            <a:stretch>
              <a:fillRect/>
            </a:stretch>
          </a:blipFill>
        </p:spPr>
        <p:txBody>
          <a:bodyPr wrap="square">
            <a:noAutofit/>
          </a:bodyPr>
          <a:lstStyle>
            <a:lvl1pPr marL="0" indent="0">
              <a:buNone/>
              <a:defRPr sz="1400"/>
            </a:lvl1pPr>
          </a:lstStyle>
          <a:p>
            <a:endParaRPr lang="en-US" dirty="0"/>
          </a:p>
        </p:txBody>
      </p:sp>
      <p:sp>
        <p:nvSpPr>
          <p:cNvPr id="3" name="Date Placeholder 2">
            <a:extLst>
              <a:ext uri="{FF2B5EF4-FFF2-40B4-BE49-F238E27FC236}">
                <a16:creationId xmlns:a16="http://schemas.microsoft.com/office/drawing/2014/main" id="{E3557E98-1729-694C-A221-BB381396DE03}"/>
              </a:ext>
            </a:extLst>
          </p:cNvPr>
          <p:cNvSpPr>
            <a:spLocks noGrp="1"/>
          </p:cNvSpPr>
          <p:nvPr>
            <p:ph type="dt" sz="half" idx="10"/>
          </p:nvPr>
        </p:nvSpPr>
        <p:spPr/>
        <p:txBody>
          <a:bodyPr/>
          <a:lstStyle/>
          <a:p>
            <a:fld id="{6A0C4EFF-7BB9-A045-B777-5D40845EB54B}" type="datetimeFigureOut">
              <a:rPr lang="en-US" smtClean="0"/>
              <a:t>4/15/2020</a:t>
            </a:fld>
            <a:endParaRPr lang="en-US" dirty="0"/>
          </a:p>
        </p:txBody>
      </p:sp>
      <p:sp>
        <p:nvSpPr>
          <p:cNvPr id="4" name="Footer Placeholder 3">
            <a:extLst>
              <a:ext uri="{FF2B5EF4-FFF2-40B4-BE49-F238E27FC236}">
                <a16:creationId xmlns:a16="http://schemas.microsoft.com/office/drawing/2014/main" id="{71F38EB6-FE21-3040-9570-43A17691D4C9}"/>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DD1439FB-B8E9-244F-B06A-4AF98DEA0687}"/>
              </a:ext>
            </a:extLst>
          </p:cNvPr>
          <p:cNvSpPr>
            <a:spLocks noGrp="1"/>
          </p:cNvSpPr>
          <p:nvPr>
            <p:ph type="sldNum" sz="quarter" idx="12"/>
          </p:nvPr>
        </p:nvSpPr>
        <p:spPr/>
        <p:txBody>
          <a:bodyPr/>
          <a:lstStyle/>
          <a:p>
            <a:fld id="{3BA69586-E6B3-B646-96E5-E7A8350A3CCE}" type="slidenum">
              <a:rPr lang="en-US" smtClean="0"/>
              <a:t>‹#›</a:t>
            </a:fld>
            <a:endParaRPr lang="en-US" dirty="0"/>
          </a:p>
        </p:txBody>
      </p:sp>
    </p:spTree>
    <p:extLst>
      <p:ext uri="{BB962C8B-B14F-4D97-AF65-F5344CB8AC3E}">
        <p14:creationId xmlns:p14="http://schemas.microsoft.com/office/powerpoint/2010/main" val="212466317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4036384F-8842-094E-9A57-C298109B5F36}"/>
              </a:ext>
            </a:extLst>
          </p:cNvPr>
          <p:cNvSpPr>
            <a:spLocks noGrp="1"/>
          </p:cNvSpPr>
          <p:nvPr>
            <p:ph type="pic" sz="quarter" idx="13"/>
          </p:nvPr>
        </p:nvSpPr>
        <p:spPr>
          <a:xfrm>
            <a:off x="6516710" y="0"/>
            <a:ext cx="5675290" cy="6858000"/>
          </a:xfrm>
          <a:custGeom>
            <a:avLst/>
            <a:gdLst>
              <a:gd name="connsiteX0" fmla="*/ 1317474 w 5675290"/>
              <a:gd name="connsiteY0" fmla="*/ 0 h 6858000"/>
              <a:gd name="connsiteX1" fmla="*/ 5675290 w 5675290"/>
              <a:gd name="connsiteY1" fmla="*/ 0 h 6858000"/>
              <a:gd name="connsiteX2" fmla="*/ 5675290 w 5675290"/>
              <a:gd name="connsiteY2" fmla="*/ 6858000 h 6858000"/>
              <a:gd name="connsiteX3" fmla="*/ 1317474 w 5675290"/>
              <a:gd name="connsiteY3" fmla="*/ 6858000 h 6858000"/>
              <a:gd name="connsiteX4" fmla="*/ 1317474 w 5675290"/>
              <a:gd name="connsiteY4" fmla="*/ 6857999 h 6858000"/>
              <a:gd name="connsiteX5" fmla="*/ 0 w 5675290"/>
              <a:gd name="connsiteY5" fmla="*/ 6857999 h 6858000"/>
              <a:gd name="connsiteX6" fmla="*/ 0 w 5675290"/>
              <a:gd name="connsiteY6" fmla="*/ 2588654 h 6858000"/>
              <a:gd name="connsiteX7" fmla="*/ 669700 w 5675290"/>
              <a:gd name="connsiteY7" fmla="*/ 2588654 h 6858000"/>
              <a:gd name="connsiteX8" fmla="*/ 669700 w 5675290"/>
              <a:gd name="connsiteY8" fmla="*/ 401509 h 6858000"/>
              <a:gd name="connsiteX9" fmla="*/ 1317474 w 5675290"/>
              <a:gd name="connsiteY9" fmla="*/ 40150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75290" h="6858000">
                <a:moveTo>
                  <a:pt x="1317474" y="0"/>
                </a:moveTo>
                <a:lnTo>
                  <a:pt x="5675290" y="0"/>
                </a:lnTo>
                <a:lnTo>
                  <a:pt x="5675290" y="6858000"/>
                </a:lnTo>
                <a:lnTo>
                  <a:pt x="1317474" y="6858000"/>
                </a:lnTo>
                <a:lnTo>
                  <a:pt x="1317474" y="6857999"/>
                </a:lnTo>
                <a:lnTo>
                  <a:pt x="0" y="6857999"/>
                </a:lnTo>
                <a:lnTo>
                  <a:pt x="0" y="2588654"/>
                </a:lnTo>
                <a:lnTo>
                  <a:pt x="669700" y="2588654"/>
                </a:lnTo>
                <a:lnTo>
                  <a:pt x="669700" y="401509"/>
                </a:lnTo>
                <a:lnTo>
                  <a:pt x="1317474" y="401509"/>
                </a:lnTo>
                <a:close/>
              </a:path>
            </a:pathLst>
          </a:custGeom>
          <a:blipFill>
            <a:blip r:embed="rId2"/>
            <a:stretch>
              <a:fillRect/>
            </a:stretch>
          </a:blipFill>
        </p:spPr>
        <p:txBody>
          <a:bodyPr wrap="square">
            <a:noAutofit/>
          </a:bodyPr>
          <a:lstStyle>
            <a:lvl1pPr marL="0" indent="0">
              <a:buNone/>
              <a:defRPr sz="1400"/>
            </a:lvl1pPr>
          </a:lstStyle>
          <a:p>
            <a:endParaRPr lang="en-US"/>
          </a:p>
        </p:txBody>
      </p:sp>
      <p:sp>
        <p:nvSpPr>
          <p:cNvPr id="3" name="Date Placeholder 2">
            <a:extLst>
              <a:ext uri="{FF2B5EF4-FFF2-40B4-BE49-F238E27FC236}">
                <a16:creationId xmlns:a16="http://schemas.microsoft.com/office/drawing/2014/main" id="{6AA6AE05-C92C-AE4D-828F-C4C33A826F1C}"/>
              </a:ext>
            </a:extLst>
          </p:cNvPr>
          <p:cNvSpPr>
            <a:spLocks noGrp="1"/>
          </p:cNvSpPr>
          <p:nvPr>
            <p:ph type="dt" sz="half" idx="10"/>
          </p:nvPr>
        </p:nvSpPr>
        <p:spPr/>
        <p:txBody>
          <a:bodyPr/>
          <a:lstStyle/>
          <a:p>
            <a:fld id="{6A0C4EFF-7BB9-A045-B777-5D40845EB54B}" type="datetimeFigureOut">
              <a:rPr lang="en-US" smtClean="0"/>
              <a:t>4/15/2020</a:t>
            </a:fld>
            <a:endParaRPr lang="en-US" dirty="0"/>
          </a:p>
        </p:txBody>
      </p:sp>
      <p:sp>
        <p:nvSpPr>
          <p:cNvPr id="4" name="Footer Placeholder 3">
            <a:extLst>
              <a:ext uri="{FF2B5EF4-FFF2-40B4-BE49-F238E27FC236}">
                <a16:creationId xmlns:a16="http://schemas.microsoft.com/office/drawing/2014/main" id="{17190DDA-05CD-3F41-96FD-CCE043EE47EB}"/>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E0EB9FB0-EFCB-1F48-B4ED-082EB5B4AFCA}"/>
              </a:ext>
            </a:extLst>
          </p:cNvPr>
          <p:cNvSpPr>
            <a:spLocks noGrp="1"/>
          </p:cNvSpPr>
          <p:nvPr>
            <p:ph type="sldNum" sz="quarter" idx="12"/>
          </p:nvPr>
        </p:nvSpPr>
        <p:spPr/>
        <p:txBody>
          <a:bodyPr/>
          <a:lstStyle/>
          <a:p>
            <a:fld id="{3BA69586-E6B3-B646-96E5-E7A8350A3CCE}" type="slidenum">
              <a:rPr lang="en-US" smtClean="0"/>
              <a:t>‹#›</a:t>
            </a:fld>
            <a:endParaRPr lang="en-US" dirty="0"/>
          </a:p>
        </p:txBody>
      </p:sp>
    </p:spTree>
    <p:extLst>
      <p:ext uri="{BB962C8B-B14F-4D97-AF65-F5344CB8AC3E}">
        <p14:creationId xmlns:p14="http://schemas.microsoft.com/office/powerpoint/2010/main" val="6728639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3_Custom Layou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878F3E8C-7EF7-6241-91DF-0CDDE9A8BE1E}"/>
              </a:ext>
            </a:extLst>
          </p:cNvPr>
          <p:cNvSpPr>
            <a:spLocks noGrp="1"/>
          </p:cNvSpPr>
          <p:nvPr>
            <p:ph type="pic" sz="quarter" idx="13"/>
          </p:nvPr>
        </p:nvSpPr>
        <p:spPr>
          <a:xfrm>
            <a:off x="-1" y="0"/>
            <a:ext cx="6739973" cy="6858000"/>
          </a:xfrm>
          <a:custGeom>
            <a:avLst/>
            <a:gdLst>
              <a:gd name="connsiteX0" fmla="*/ 0 w 6739973"/>
              <a:gd name="connsiteY0" fmla="*/ 1125029 h 6858000"/>
              <a:gd name="connsiteX1" fmla="*/ 1731092 w 6739973"/>
              <a:gd name="connsiteY1" fmla="*/ 4123368 h 6858000"/>
              <a:gd name="connsiteX2" fmla="*/ 0 w 6739973"/>
              <a:gd name="connsiteY2" fmla="*/ 5122814 h 6858000"/>
              <a:gd name="connsiteX3" fmla="*/ 0 w 6739973"/>
              <a:gd name="connsiteY3" fmla="*/ 4148857 h 6858000"/>
              <a:gd name="connsiteX4" fmla="*/ 2 w 6739973"/>
              <a:gd name="connsiteY4" fmla="*/ 4148856 h 6858000"/>
              <a:gd name="connsiteX5" fmla="*/ 2 w 6739973"/>
              <a:gd name="connsiteY5" fmla="*/ 3488882 h 6858000"/>
              <a:gd name="connsiteX6" fmla="*/ 0 w 6739973"/>
              <a:gd name="connsiteY6" fmla="*/ 3488879 h 6858000"/>
              <a:gd name="connsiteX7" fmla="*/ 2642623 w 6739973"/>
              <a:gd name="connsiteY7" fmla="*/ 0 h 6858000"/>
              <a:gd name="connsiteX8" fmla="*/ 4007393 w 6739973"/>
              <a:gd name="connsiteY8" fmla="*/ 0 h 6858000"/>
              <a:gd name="connsiteX9" fmla="*/ 6739973 w 6739973"/>
              <a:gd name="connsiteY9" fmla="*/ 4732968 h 6858000"/>
              <a:gd name="connsiteX10" fmla="*/ 3059309 w 6739973"/>
              <a:gd name="connsiteY10" fmla="*/ 6858000 h 6858000"/>
              <a:gd name="connsiteX11" fmla="*/ 1372366 w 6739973"/>
              <a:gd name="connsiteY11" fmla="*/ 6858000 h 6858000"/>
              <a:gd name="connsiteX12" fmla="*/ 5294660 w 6739973"/>
              <a:gd name="connsiteY12" fmla="*/ 4593463 h 6858000"/>
              <a:gd name="connsiteX13" fmla="*/ 1077675 w 6739973"/>
              <a:gd name="connsiteY13" fmla="*/ 0 h 6858000"/>
              <a:gd name="connsiteX14" fmla="*/ 2442444 w 6739973"/>
              <a:gd name="connsiteY14" fmla="*/ 0 h 6858000"/>
              <a:gd name="connsiteX15" fmla="*/ 5063572 w 6739973"/>
              <a:gd name="connsiteY15" fmla="*/ 4539927 h 6858000"/>
              <a:gd name="connsiteX16" fmla="*/ 1048554 w 6739973"/>
              <a:gd name="connsiteY16" fmla="*/ 6858000 h 6858000"/>
              <a:gd name="connsiteX17" fmla="*/ 0 w 6739973"/>
              <a:gd name="connsiteY17" fmla="*/ 6858000 h 6858000"/>
              <a:gd name="connsiteX18" fmla="*/ 0 w 6739973"/>
              <a:gd name="connsiteY18" fmla="*/ 6489427 h 6858000"/>
              <a:gd name="connsiteX19" fmla="*/ 3618260 w 6739973"/>
              <a:gd name="connsiteY19" fmla="*/ 4400423 h 6858000"/>
              <a:gd name="connsiteX20" fmla="*/ 0 w 6739973"/>
              <a:gd name="connsiteY20" fmla="*/ 0 h 6858000"/>
              <a:gd name="connsiteX21" fmla="*/ 879068 w 6739973"/>
              <a:gd name="connsiteY21" fmla="*/ 0 h 6858000"/>
              <a:gd name="connsiteX22" fmla="*/ 3377012 w 6739973"/>
              <a:gd name="connsiteY22" fmla="*/ 4326568 h 6858000"/>
              <a:gd name="connsiteX23" fmla="*/ 0 w 6739973"/>
              <a:gd name="connsiteY23" fmla="*/ 6276287 h 6858000"/>
              <a:gd name="connsiteX24" fmla="*/ 0 w 6739973"/>
              <a:gd name="connsiteY24" fmla="*/ 5302330 h 6858000"/>
              <a:gd name="connsiteX25" fmla="*/ 1931700 w 6739973"/>
              <a:gd name="connsiteY25" fmla="*/ 4187063 h 6858000"/>
              <a:gd name="connsiteX26" fmla="*/ 0 w 6739973"/>
              <a:gd name="connsiteY26" fmla="*/ 84126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39973" h="6858000">
                <a:moveTo>
                  <a:pt x="0" y="1125029"/>
                </a:moveTo>
                <a:lnTo>
                  <a:pt x="1731092" y="4123368"/>
                </a:lnTo>
                <a:lnTo>
                  <a:pt x="0" y="5122814"/>
                </a:lnTo>
                <a:lnTo>
                  <a:pt x="0" y="4148857"/>
                </a:lnTo>
                <a:lnTo>
                  <a:pt x="2" y="4148856"/>
                </a:lnTo>
                <a:lnTo>
                  <a:pt x="2" y="3488882"/>
                </a:lnTo>
                <a:lnTo>
                  <a:pt x="0" y="3488879"/>
                </a:lnTo>
                <a:close/>
                <a:moveTo>
                  <a:pt x="2642623" y="0"/>
                </a:moveTo>
                <a:lnTo>
                  <a:pt x="4007393" y="0"/>
                </a:lnTo>
                <a:lnTo>
                  <a:pt x="6739973" y="4732968"/>
                </a:lnTo>
                <a:lnTo>
                  <a:pt x="3059309" y="6858000"/>
                </a:lnTo>
                <a:lnTo>
                  <a:pt x="1372366" y="6858000"/>
                </a:lnTo>
                <a:lnTo>
                  <a:pt x="5294660" y="4593463"/>
                </a:lnTo>
                <a:close/>
                <a:moveTo>
                  <a:pt x="1077675" y="0"/>
                </a:moveTo>
                <a:lnTo>
                  <a:pt x="2442444" y="0"/>
                </a:lnTo>
                <a:lnTo>
                  <a:pt x="5063572" y="4539927"/>
                </a:lnTo>
                <a:lnTo>
                  <a:pt x="1048554" y="6858000"/>
                </a:lnTo>
                <a:lnTo>
                  <a:pt x="0" y="6858000"/>
                </a:lnTo>
                <a:lnTo>
                  <a:pt x="0" y="6489427"/>
                </a:lnTo>
                <a:lnTo>
                  <a:pt x="3618260" y="4400423"/>
                </a:lnTo>
                <a:close/>
                <a:moveTo>
                  <a:pt x="0" y="0"/>
                </a:moveTo>
                <a:lnTo>
                  <a:pt x="879068" y="0"/>
                </a:lnTo>
                <a:lnTo>
                  <a:pt x="3377012" y="4326568"/>
                </a:lnTo>
                <a:lnTo>
                  <a:pt x="0" y="6276287"/>
                </a:lnTo>
                <a:lnTo>
                  <a:pt x="0" y="5302330"/>
                </a:lnTo>
                <a:lnTo>
                  <a:pt x="1931700" y="4187063"/>
                </a:lnTo>
                <a:lnTo>
                  <a:pt x="0" y="841261"/>
                </a:lnTo>
                <a:close/>
              </a:path>
            </a:pathLst>
          </a:custGeom>
          <a:blipFill>
            <a:blip r:embed="rId2"/>
            <a:stretch>
              <a:fillRect/>
            </a:stretch>
          </a:blipFill>
        </p:spPr>
        <p:txBody>
          <a:bodyPr wrap="square">
            <a:noAutofit/>
          </a:bodyPr>
          <a:lstStyle>
            <a:lvl1pPr marL="0" indent="0">
              <a:buNone/>
              <a:defRPr sz="1400"/>
            </a:lvl1pPr>
          </a:lstStyle>
          <a:p>
            <a:endParaRPr lang="en-US"/>
          </a:p>
        </p:txBody>
      </p:sp>
      <p:sp>
        <p:nvSpPr>
          <p:cNvPr id="3" name="Date Placeholder 2">
            <a:extLst>
              <a:ext uri="{FF2B5EF4-FFF2-40B4-BE49-F238E27FC236}">
                <a16:creationId xmlns:a16="http://schemas.microsoft.com/office/drawing/2014/main" id="{29644D8F-0016-4046-8504-222A7DC4447A}"/>
              </a:ext>
            </a:extLst>
          </p:cNvPr>
          <p:cNvSpPr>
            <a:spLocks noGrp="1"/>
          </p:cNvSpPr>
          <p:nvPr>
            <p:ph type="dt" sz="half" idx="10"/>
          </p:nvPr>
        </p:nvSpPr>
        <p:spPr/>
        <p:txBody>
          <a:bodyPr/>
          <a:lstStyle/>
          <a:p>
            <a:fld id="{6A0C4EFF-7BB9-A045-B777-5D40845EB54B}" type="datetimeFigureOut">
              <a:rPr lang="en-US" smtClean="0"/>
              <a:t>4/15/2020</a:t>
            </a:fld>
            <a:endParaRPr lang="en-US" dirty="0"/>
          </a:p>
        </p:txBody>
      </p:sp>
      <p:sp>
        <p:nvSpPr>
          <p:cNvPr id="4" name="Footer Placeholder 3">
            <a:extLst>
              <a:ext uri="{FF2B5EF4-FFF2-40B4-BE49-F238E27FC236}">
                <a16:creationId xmlns:a16="http://schemas.microsoft.com/office/drawing/2014/main" id="{F6230129-095F-CF45-B5F6-2C3F1218236E}"/>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EC8FD1F9-5A1A-1D40-822D-FAB4BE2E80B2}"/>
              </a:ext>
            </a:extLst>
          </p:cNvPr>
          <p:cNvSpPr>
            <a:spLocks noGrp="1"/>
          </p:cNvSpPr>
          <p:nvPr>
            <p:ph type="sldNum" sz="quarter" idx="12"/>
          </p:nvPr>
        </p:nvSpPr>
        <p:spPr/>
        <p:txBody>
          <a:bodyPr/>
          <a:lstStyle/>
          <a:p>
            <a:fld id="{3BA69586-E6B3-B646-96E5-E7A8350A3CCE}" type="slidenum">
              <a:rPr lang="en-US" smtClean="0"/>
              <a:pPr/>
              <a:t>‹#›</a:t>
            </a:fld>
            <a:endParaRPr lang="en-US" dirty="0"/>
          </a:p>
        </p:txBody>
      </p:sp>
    </p:spTree>
    <p:extLst>
      <p:ext uri="{BB962C8B-B14F-4D97-AF65-F5344CB8AC3E}">
        <p14:creationId xmlns:p14="http://schemas.microsoft.com/office/powerpoint/2010/main" val="331843149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ADFB3E0F-860F-C84B-86CC-998784E8D5AA}"/>
              </a:ext>
            </a:extLst>
          </p:cNvPr>
          <p:cNvSpPr>
            <a:spLocks noGrp="1"/>
          </p:cNvSpPr>
          <p:nvPr>
            <p:ph type="pic" sz="quarter" idx="13"/>
          </p:nvPr>
        </p:nvSpPr>
        <p:spPr>
          <a:xfrm>
            <a:off x="5690720" y="580633"/>
            <a:ext cx="5611900" cy="5595227"/>
          </a:xfrm>
          <a:custGeom>
            <a:avLst/>
            <a:gdLst>
              <a:gd name="connsiteX0" fmla="*/ 3542786 w 5611900"/>
              <a:gd name="connsiteY0" fmla="*/ 4855078 h 5595227"/>
              <a:gd name="connsiteX1" fmla="*/ 3761729 w 5611900"/>
              <a:gd name="connsiteY1" fmla="*/ 5074021 h 5595227"/>
              <a:gd name="connsiteX2" fmla="*/ 3542786 w 5611900"/>
              <a:gd name="connsiteY2" fmla="*/ 5292964 h 5595227"/>
              <a:gd name="connsiteX3" fmla="*/ 3323843 w 5611900"/>
              <a:gd name="connsiteY3" fmla="*/ 5074021 h 5595227"/>
              <a:gd name="connsiteX4" fmla="*/ 3542786 w 5611900"/>
              <a:gd name="connsiteY4" fmla="*/ 4855078 h 5595227"/>
              <a:gd name="connsiteX5" fmla="*/ 4866969 w 5611900"/>
              <a:gd name="connsiteY5" fmla="*/ 3569558 h 5595227"/>
              <a:gd name="connsiteX6" fmla="*/ 5003196 w 5611900"/>
              <a:gd name="connsiteY6" fmla="*/ 3625985 h 5595227"/>
              <a:gd name="connsiteX7" fmla="*/ 5003196 w 5611900"/>
              <a:gd name="connsiteY7" fmla="*/ 3898439 h 5595227"/>
              <a:gd name="connsiteX8" fmla="*/ 4059959 w 5611900"/>
              <a:gd name="connsiteY8" fmla="*/ 4841676 h 5595227"/>
              <a:gd name="connsiteX9" fmla="*/ 3787505 w 5611900"/>
              <a:gd name="connsiteY9" fmla="*/ 4841676 h 5595227"/>
              <a:gd name="connsiteX10" fmla="*/ 3787505 w 5611900"/>
              <a:gd name="connsiteY10" fmla="*/ 4569222 h 5595227"/>
              <a:gd name="connsiteX11" fmla="*/ 4730742 w 5611900"/>
              <a:gd name="connsiteY11" fmla="*/ 3625985 h 5595227"/>
              <a:gd name="connsiteX12" fmla="*/ 4866969 w 5611900"/>
              <a:gd name="connsiteY12" fmla="*/ 3569558 h 5595227"/>
              <a:gd name="connsiteX13" fmla="*/ 1801327 w 5611900"/>
              <a:gd name="connsiteY13" fmla="*/ 640492 h 5595227"/>
              <a:gd name="connsiteX14" fmla="*/ 1940518 w 5611900"/>
              <a:gd name="connsiteY14" fmla="*/ 698146 h 5595227"/>
              <a:gd name="connsiteX15" fmla="*/ 1940518 w 5611900"/>
              <a:gd name="connsiteY15" fmla="*/ 976527 h 5595227"/>
              <a:gd name="connsiteX16" fmla="*/ 981968 w 5611900"/>
              <a:gd name="connsiteY16" fmla="*/ 1935075 h 5595227"/>
              <a:gd name="connsiteX17" fmla="*/ 703587 w 5611900"/>
              <a:gd name="connsiteY17" fmla="*/ 1935075 h 5595227"/>
              <a:gd name="connsiteX18" fmla="*/ 703588 w 5611900"/>
              <a:gd name="connsiteY18" fmla="*/ 1935075 h 5595227"/>
              <a:gd name="connsiteX19" fmla="*/ 703588 w 5611900"/>
              <a:gd name="connsiteY19" fmla="*/ 1656694 h 5595227"/>
              <a:gd name="connsiteX20" fmla="*/ 1662137 w 5611900"/>
              <a:gd name="connsiteY20" fmla="*/ 698146 h 5595227"/>
              <a:gd name="connsiteX21" fmla="*/ 1801327 w 5611900"/>
              <a:gd name="connsiteY21" fmla="*/ 640492 h 5595227"/>
              <a:gd name="connsiteX22" fmla="*/ 5415056 w 5611900"/>
              <a:gd name="connsiteY22" fmla="*/ 558428 h 5595227"/>
              <a:gd name="connsiteX23" fmla="*/ 5554246 w 5611900"/>
              <a:gd name="connsiteY23" fmla="*/ 616082 h 5595227"/>
              <a:gd name="connsiteX24" fmla="*/ 5554246 w 5611900"/>
              <a:gd name="connsiteY24" fmla="*/ 894463 h 5595227"/>
              <a:gd name="connsiteX25" fmla="*/ 4992769 w 5611900"/>
              <a:gd name="connsiteY25" fmla="*/ 1455938 h 5595227"/>
              <a:gd name="connsiteX26" fmla="*/ 4714389 w 5611900"/>
              <a:gd name="connsiteY26" fmla="*/ 1455938 h 5595227"/>
              <a:gd name="connsiteX27" fmla="*/ 4714390 w 5611900"/>
              <a:gd name="connsiteY27" fmla="*/ 1455938 h 5595227"/>
              <a:gd name="connsiteX28" fmla="*/ 4714390 w 5611900"/>
              <a:gd name="connsiteY28" fmla="*/ 1177558 h 5595227"/>
              <a:gd name="connsiteX29" fmla="*/ 5275865 w 5611900"/>
              <a:gd name="connsiteY29" fmla="*/ 616082 h 5595227"/>
              <a:gd name="connsiteX30" fmla="*/ 5415056 w 5611900"/>
              <a:gd name="connsiteY30" fmla="*/ 558428 h 5595227"/>
              <a:gd name="connsiteX31" fmla="*/ 3398221 w 5611900"/>
              <a:gd name="connsiteY31" fmla="*/ 362921 h 5595227"/>
              <a:gd name="connsiteX32" fmla="*/ 3555664 w 5611900"/>
              <a:gd name="connsiteY32" fmla="*/ 438828 h 5595227"/>
              <a:gd name="connsiteX33" fmla="*/ 3581477 w 5611900"/>
              <a:gd name="connsiteY33" fmla="*/ 743022 h 5595227"/>
              <a:gd name="connsiteX34" fmla="*/ 3194949 w 5611900"/>
              <a:gd name="connsiteY34" fmla="*/ 1129550 h 5595227"/>
              <a:gd name="connsiteX35" fmla="*/ 3230427 w 5611900"/>
              <a:gd name="connsiteY35" fmla="*/ 1136453 h 5595227"/>
              <a:gd name="connsiteX36" fmla="*/ 3307620 w 5611900"/>
              <a:gd name="connsiteY36" fmla="*/ 1187714 h 5595227"/>
              <a:gd name="connsiteX37" fmla="*/ 3307620 w 5611900"/>
              <a:gd name="connsiteY37" fmla="*/ 1517720 h 5595227"/>
              <a:gd name="connsiteX38" fmla="*/ 2433662 w 5611900"/>
              <a:gd name="connsiteY38" fmla="*/ 2391678 h 5595227"/>
              <a:gd name="connsiteX39" fmla="*/ 2422373 w 5611900"/>
              <a:gd name="connsiteY39" fmla="*/ 2437798 h 5595227"/>
              <a:gd name="connsiteX40" fmla="*/ 2479126 w 5611900"/>
              <a:gd name="connsiteY40" fmla="*/ 2595856 h 5595227"/>
              <a:gd name="connsiteX41" fmla="*/ 2479124 w 5611900"/>
              <a:gd name="connsiteY41" fmla="*/ 2595856 h 5595227"/>
              <a:gd name="connsiteX42" fmla="*/ 2692389 w 5611900"/>
              <a:gd name="connsiteY42" fmla="*/ 2639097 h 5595227"/>
              <a:gd name="connsiteX43" fmla="*/ 2747947 w 5611900"/>
              <a:gd name="connsiteY43" fmla="*/ 2602203 h 5595227"/>
              <a:gd name="connsiteX44" fmla="*/ 2720578 w 5611900"/>
              <a:gd name="connsiteY44" fmla="*/ 2643419 h 5595227"/>
              <a:gd name="connsiteX45" fmla="*/ 3001666 w 5611900"/>
              <a:gd name="connsiteY45" fmla="*/ 2362331 h 5595227"/>
              <a:gd name="connsiteX46" fmla="*/ 3280047 w 5611900"/>
              <a:gd name="connsiteY46" fmla="*/ 2362331 h 5595227"/>
              <a:gd name="connsiteX47" fmla="*/ 3337702 w 5611900"/>
              <a:gd name="connsiteY47" fmla="*/ 2501521 h 5595227"/>
              <a:gd name="connsiteX48" fmla="*/ 3323996 w 5611900"/>
              <a:gd name="connsiteY48" fmla="*/ 2571957 h 5595227"/>
              <a:gd name="connsiteX49" fmla="*/ 4157629 w 5611900"/>
              <a:gd name="connsiteY49" fmla="*/ 1738324 h 5595227"/>
              <a:gd name="connsiteX50" fmla="*/ 4436009 w 5611900"/>
              <a:gd name="connsiteY50" fmla="*/ 1738324 h 5595227"/>
              <a:gd name="connsiteX51" fmla="*/ 4479250 w 5611900"/>
              <a:gd name="connsiteY51" fmla="*/ 1951587 h 5595227"/>
              <a:gd name="connsiteX52" fmla="*/ 4448131 w 5611900"/>
              <a:gd name="connsiteY52" fmla="*/ 1998450 h 5595227"/>
              <a:gd name="connsiteX53" fmla="*/ 4674595 w 5611900"/>
              <a:gd name="connsiteY53" fmla="*/ 1771986 h 5595227"/>
              <a:gd name="connsiteX54" fmla="*/ 4952976 w 5611900"/>
              <a:gd name="connsiteY54" fmla="*/ 1771986 h 5595227"/>
              <a:gd name="connsiteX55" fmla="*/ 4952976 w 5611900"/>
              <a:gd name="connsiteY55" fmla="*/ 2050367 h 5595227"/>
              <a:gd name="connsiteX56" fmla="*/ 4469632 w 5611900"/>
              <a:gd name="connsiteY56" fmla="*/ 2533711 h 5595227"/>
              <a:gd name="connsiteX57" fmla="*/ 4435096 w 5611900"/>
              <a:gd name="connsiteY57" fmla="*/ 2603260 h 5595227"/>
              <a:gd name="connsiteX58" fmla="*/ 4451144 w 5611900"/>
              <a:gd name="connsiteY58" fmla="*/ 2802024 h 5595227"/>
              <a:gd name="connsiteX59" fmla="*/ 4451142 w 5611900"/>
              <a:gd name="connsiteY59" fmla="*/ 2802024 h 5595227"/>
              <a:gd name="connsiteX60" fmla="*/ 4732722 w 5611900"/>
              <a:gd name="connsiteY60" fmla="*/ 2776949 h 5595227"/>
              <a:gd name="connsiteX61" fmla="*/ 4786773 w 5611900"/>
              <a:gd name="connsiteY61" fmla="*/ 2733781 h 5595227"/>
              <a:gd name="connsiteX62" fmla="*/ 4852843 w 5611900"/>
              <a:gd name="connsiteY62" fmla="*/ 2667710 h 5595227"/>
              <a:gd name="connsiteX63" fmla="*/ 5131224 w 5611900"/>
              <a:gd name="connsiteY63" fmla="*/ 2667710 h 5595227"/>
              <a:gd name="connsiteX64" fmla="*/ 5131224 w 5611900"/>
              <a:gd name="connsiteY64" fmla="*/ 2946091 h 5595227"/>
              <a:gd name="connsiteX65" fmla="*/ 2539741 w 5611900"/>
              <a:gd name="connsiteY65" fmla="*/ 5537573 h 5595227"/>
              <a:gd name="connsiteX66" fmla="*/ 2261360 w 5611900"/>
              <a:gd name="connsiteY66" fmla="*/ 5537573 h 5595227"/>
              <a:gd name="connsiteX67" fmla="*/ 2261362 w 5611900"/>
              <a:gd name="connsiteY67" fmla="*/ 5537573 h 5595227"/>
              <a:gd name="connsiteX68" fmla="*/ 2218121 w 5611900"/>
              <a:gd name="connsiteY68" fmla="*/ 5324309 h 5595227"/>
              <a:gd name="connsiteX69" fmla="*/ 2224247 w 5611900"/>
              <a:gd name="connsiteY69" fmla="*/ 5315083 h 5595227"/>
              <a:gd name="connsiteX70" fmla="*/ 2218747 w 5611900"/>
              <a:gd name="connsiteY70" fmla="*/ 5319476 h 5595227"/>
              <a:gd name="connsiteX71" fmla="*/ 2234074 w 5611900"/>
              <a:gd name="connsiteY71" fmla="*/ 5300285 h 5595227"/>
              <a:gd name="connsiteX72" fmla="*/ 2261362 w 5611900"/>
              <a:gd name="connsiteY72" fmla="*/ 5259192 h 5595227"/>
              <a:gd name="connsiteX73" fmla="*/ 2280116 w 5611900"/>
              <a:gd name="connsiteY73" fmla="*/ 5240438 h 5595227"/>
              <a:gd name="connsiteX74" fmla="*/ 2318353 w 5611900"/>
              <a:gd name="connsiteY74" fmla="*/ 5163434 h 5595227"/>
              <a:gd name="connsiteX75" fmla="*/ 2302304 w 5611900"/>
              <a:gd name="connsiteY75" fmla="*/ 4964671 h 5595227"/>
              <a:gd name="connsiteX76" fmla="*/ 2020726 w 5611900"/>
              <a:gd name="connsiteY76" fmla="*/ 4989746 h 5595227"/>
              <a:gd name="connsiteX77" fmla="*/ 1985311 w 5611900"/>
              <a:gd name="connsiteY77" fmla="*/ 5018031 h 5595227"/>
              <a:gd name="connsiteX78" fmla="*/ 1972923 w 5611900"/>
              <a:gd name="connsiteY78" fmla="*/ 5030418 h 5595227"/>
              <a:gd name="connsiteX79" fmla="*/ 1954395 w 5611900"/>
              <a:gd name="connsiteY79" fmla="*/ 5042722 h 5595227"/>
              <a:gd name="connsiteX80" fmla="*/ 1941186 w 5611900"/>
              <a:gd name="connsiteY80" fmla="*/ 5053271 h 5595227"/>
              <a:gd name="connsiteX81" fmla="*/ 1944210 w 5611900"/>
              <a:gd name="connsiteY81" fmla="*/ 5049485 h 5595227"/>
              <a:gd name="connsiteX82" fmla="*/ 1907806 w 5611900"/>
              <a:gd name="connsiteY82" fmla="*/ 5073659 h 5595227"/>
              <a:gd name="connsiteX83" fmla="*/ 1694543 w 5611900"/>
              <a:gd name="connsiteY83" fmla="*/ 5030418 h 5595227"/>
              <a:gd name="connsiteX84" fmla="*/ 1694544 w 5611900"/>
              <a:gd name="connsiteY84" fmla="*/ 5030418 h 5595227"/>
              <a:gd name="connsiteX85" fmla="*/ 1694544 w 5611900"/>
              <a:gd name="connsiteY85" fmla="*/ 4752037 h 5595227"/>
              <a:gd name="connsiteX86" fmla="*/ 1735435 w 5611900"/>
              <a:gd name="connsiteY86" fmla="*/ 4711146 h 5595227"/>
              <a:gd name="connsiteX87" fmla="*/ 1688569 w 5611900"/>
              <a:gd name="connsiteY87" fmla="*/ 4742267 h 5595227"/>
              <a:gd name="connsiteX88" fmla="*/ 1475305 w 5611900"/>
              <a:gd name="connsiteY88" fmla="*/ 4699026 h 5595227"/>
              <a:gd name="connsiteX89" fmla="*/ 1475306 w 5611900"/>
              <a:gd name="connsiteY89" fmla="*/ 4699026 h 5595227"/>
              <a:gd name="connsiteX90" fmla="*/ 1417652 w 5611900"/>
              <a:gd name="connsiteY90" fmla="*/ 4559836 h 5595227"/>
              <a:gd name="connsiteX91" fmla="*/ 1431358 w 5611900"/>
              <a:gd name="connsiteY91" fmla="*/ 4489400 h 5595227"/>
              <a:gd name="connsiteX92" fmla="*/ 597725 w 5611900"/>
              <a:gd name="connsiteY92" fmla="*/ 5323034 h 5595227"/>
              <a:gd name="connsiteX93" fmla="*/ 319344 w 5611900"/>
              <a:gd name="connsiteY93" fmla="*/ 5323034 h 5595227"/>
              <a:gd name="connsiteX94" fmla="*/ 319345 w 5611900"/>
              <a:gd name="connsiteY94" fmla="*/ 5323034 h 5595227"/>
              <a:gd name="connsiteX95" fmla="*/ 319345 w 5611900"/>
              <a:gd name="connsiteY95" fmla="*/ 5044653 h 5595227"/>
              <a:gd name="connsiteX96" fmla="*/ 1316675 w 5611900"/>
              <a:gd name="connsiteY96" fmla="*/ 4047323 h 5595227"/>
              <a:gd name="connsiteX97" fmla="*/ 1304888 w 5611900"/>
              <a:gd name="connsiteY97" fmla="*/ 4055149 h 5595227"/>
              <a:gd name="connsiteX98" fmla="*/ 1334030 w 5611900"/>
              <a:gd name="connsiteY98" fmla="*/ 4011265 h 5595227"/>
              <a:gd name="connsiteX99" fmla="*/ 1290788 w 5611900"/>
              <a:gd name="connsiteY99" fmla="*/ 3798001 h 5595227"/>
              <a:gd name="connsiteX100" fmla="*/ 1077526 w 5611900"/>
              <a:gd name="connsiteY100" fmla="*/ 3754761 h 5595227"/>
              <a:gd name="connsiteX101" fmla="*/ 1056849 w 5611900"/>
              <a:gd name="connsiteY101" fmla="*/ 3768492 h 5595227"/>
              <a:gd name="connsiteX102" fmla="*/ 651781 w 5611900"/>
              <a:gd name="connsiteY102" fmla="*/ 4173559 h 5595227"/>
              <a:gd name="connsiteX103" fmla="*/ 321774 w 5611900"/>
              <a:gd name="connsiteY103" fmla="*/ 4173559 h 5595227"/>
              <a:gd name="connsiteX104" fmla="*/ 321774 w 5611900"/>
              <a:gd name="connsiteY104" fmla="*/ 3843552 h 5595227"/>
              <a:gd name="connsiteX105" fmla="*/ 804490 w 5611900"/>
              <a:gd name="connsiteY105" fmla="*/ 3360836 h 5595227"/>
              <a:gd name="connsiteX106" fmla="*/ 803151 w 5611900"/>
              <a:gd name="connsiteY106" fmla="*/ 3353366 h 5595227"/>
              <a:gd name="connsiteX107" fmla="*/ 734668 w 5611900"/>
              <a:gd name="connsiteY107" fmla="*/ 3237340 h 5595227"/>
              <a:gd name="connsiteX108" fmla="*/ 659503 w 5611900"/>
              <a:gd name="connsiteY108" fmla="*/ 3184052 h 5595227"/>
              <a:gd name="connsiteX109" fmla="*/ 639038 w 5611900"/>
              <a:gd name="connsiteY109" fmla="*/ 3178426 h 5595227"/>
              <a:gd name="connsiteX110" fmla="*/ 398354 w 5611900"/>
              <a:gd name="connsiteY110" fmla="*/ 3419110 h 5595227"/>
              <a:gd name="connsiteX111" fmla="*/ 68348 w 5611900"/>
              <a:gd name="connsiteY111" fmla="*/ 3419110 h 5595227"/>
              <a:gd name="connsiteX112" fmla="*/ 68348 w 5611900"/>
              <a:gd name="connsiteY112" fmla="*/ 3089103 h 5595227"/>
              <a:gd name="connsiteX113" fmla="*/ 2515555 w 5611900"/>
              <a:gd name="connsiteY113" fmla="*/ 641896 h 5595227"/>
              <a:gd name="connsiteX114" fmla="*/ 2680558 w 5611900"/>
              <a:gd name="connsiteY114" fmla="*/ 573550 h 5595227"/>
              <a:gd name="connsiteX115" fmla="*/ 2845561 w 5611900"/>
              <a:gd name="connsiteY115" fmla="*/ 641896 h 5595227"/>
              <a:gd name="connsiteX116" fmla="*/ 2896821 w 5611900"/>
              <a:gd name="connsiteY116" fmla="*/ 719090 h 5595227"/>
              <a:gd name="connsiteX117" fmla="*/ 2907926 w 5611900"/>
              <a:gd name="connsiteY117" fmla="*/ 756558 h 5595227"/>
              <a:gd name="connsiteX118" fmla="*/ 3251470 w 5611900"/>
              <a:gd name="connsiteY118" fmla="*/ 413014 h 5595227"/>
              <a:gd name="connsiteX119" fmla="*/ 3398221 w 5611900"/>
              <a:gd name="connsiteY119" fmla="*/ 362921 h 5595227"/>
              <a:gd name="connsiteX120" fmla="*/ 4755635 w 5611900"/>
              <a:gd name="connsiteY120" fmla="*/ 355359 h 5595227"/>
              <a:gd name="connsiteX121" fmla="*/ 4894825 w 5611900"/>
              <a:gd name="connsiteY121" fmla="*/ 413014 h 5595227"/>
              <a:gd name="connsiteX122" fmla="*/ 4894825 w 5611900"/>
              <a:gd name="connsiteY122" fmla="*/ 691395 h 5595227"/>
              <a:gd name="connsiteX123" fmla="*/ 3673502 w 5611900"/>
              <a:gd name="connsiteY123" fmla="*/ 1912716 h 5595227"/>
              <a:gd name="connsiteX124" fmla="*/ 3395121 w 5611900"/>
              <a:gd name="connsiteY124" fmla="*/ 1912716 h 5595227"/>
              <a:gd name="connsiteX125" fmla="*/ 3395123 w 5611900"/>
              <a:gd name="connsiteY125" fmla="*/ 1912716 h 5595227"/>
              <a:gd name="connsiteX126" fmla="*/ 3395123 w 5611900"/>
              <a:gd name="connsiteY126" fmla="*/ 1634335 h 5595227"/>
              <a:gd name="connsiteX127" fmla="*/ 4616445 w 5611900"/>
              <a:gd name="connsiteY127" fmla="*/ 413014 h 5595227"/>
              <a:gd name="connsiteX128" fmla="*/ 4755635 w 5611900"/>
              <a:gd name="connsiteY128" fmla="*/ 355359 h 5595227"/>
              <a:gd name="connsiteX129" fmla="*/ 3791507 w 5611900"/>
              <a:gd name="connsiteY129" fmla="*/ 9054 h 5595227"/>
              <a:gd name="connsiteX130" fmla="*/ 4005923 w 5611900"/>
              <a:gd name="connsiteY130" fmla="*/ 223470 h 5595227"/>
              <a:gd name="connsiteX131" fmla="*/ 3791507 w 5611900"/>
              <a:gd name="connsiteY131" fmla="*/ 437886 h 5595227"/>
              <a:gd name="connsiteX132" fmla="*/ 3577091 w 5611900"/>
              <a:gd name="connsiteY132" fmla="*/ 223470 h 5595227"/>
              <a:gd name="connsiteX133" fmla="*/ 3791507 w 5611900"/>
              <a:gd name="connsiteY133" fmla="*/ 9054 h 5595227"/>
              <a:gd name="connsiteX134" fmla="*/ 5117437 w 5611900"/>
              <a:gd name="connsiteY134" fmla="*/ 0 h 5595227"/>
              <a:gd name="connsiteX135" fmla="*/ 5336380 w 5611900"/>
              <a:gd name="connsiteY135" fmla="*/ 218943 h 5595227"/>
              <a:gd name="connsiteX136" fmla="*/ 5117437 w 5611900"/>
              <a:gd name="connsiteY136" fmla="*/ 437886 h 5595227"/>
              <a:gd name="connsiteX137" fmla="*/ 4898494 w 5611900"/>
              <a:gd name="connsiteY137" fmla="*/ 218943 h 5595227"/>
              <a:gd name="connsiteX138" fmla="*/ 5117437 w 5611900"/>
              <a:gd name="connsiteY138" fmla="*/ 0 h 5595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5611900" h="5595227">
                <a:moveTo>
                  <a:pt x="3542786" y="4855078"/>
                </a:moveTo>
                <a:cubicBezTo>
                  <a:pt x="3663705" y="4855078"/>
                  <a:pt x="3761729" y="4953102"/>
                  <a:pt x="3761729" y="5074021"/>
                </a:cubicBezTo>
                <a:cubicBezTo>
                  <a:pt x="3761729" y="5194940"/>
                  <a:pt x="3663705" y="5292964"/>
                  <a:pt x="3542786" y="5292964"/>
                </a:cubicBezTo>
                <a:cubicBezTo>
                  <a:pt x="3421867" y="5292964"/>
                  <a:pt x="3323843" y="5194940"/>
                  <a:pt x="3323843" y="5074021"/>
                </a:cubicBezTo>
                <a:cubicBezTo>
                  <a:pt x="3323843" y="4953102"/>
                  <a:pt x="3421867" y="4855078"/>
                  <a:pt x="3542786" y="4855078"/>
                </a:cubicBezTo>
                <a:close/>
                <a:moveTo>
                  <a:pt x="4866969" y="3569558"/>
                </a:moveTo>
                <a:cubicBezTo>
                  <a:pt x="4916273" y="3569558"/>
                  <a:pt x="4965578" y="3588367"/>
                  <a:pt x="5003196" y="3625985"/>
                </a:cubicBezTo>
                <a:cubicBezTo>
                  <a:pt x="5078432" y="3701222"/>
                  <a:pt x="5078432" y="3823203"/>
                  <a:pt x="5003196" y="3898439"/>
                </a:cubicBezTo>
                <a:lnTo>
                  <a:pt x="4059959" y="4841676"/>
                </a:lnTo>
                <a:cubicBezTo>
                  <a:pt x="3984723" y="4916913"/>
                  <a:pt x="3862741" y="4916913"/>
                  <a:pt x="3787505" y="4841676"/>
                </a:cubicBezTo>
                <a:cubicBezTo>
                  <a:pt x="3712269" y="4766440"/>
                  <a:pt x="3712269" y="4644458"/>
                  <a:pt x="3787505" y="4569222"/>
                </a:cubicBezTo>
                <a:lnTo>
                  <a:pt x="4730742" y="3625985"/>
                </a:lnTo>
                <a:cubicBezTo>
                  <a:pt x="4768360" y="3588367"/>
                  <a:pt x="4817664" y="3569558"/>
                  <a:pt x="4866969" y="3569558"/>
                </a:cubicBezTo>
                <a:close/>
                <a:moveTo>
                  <a:pt x="1801327" y="640492"/>
                </a:moveTo>
                <a:cubicBezTo>
                  <a:pt x="1851704" y="640492"/>
                  <a:pt x="1902082" y="659709"/>
                  <a:pt x="1940518" y="698146"/>
                </a:cubicBezTo>
                <a:cubicBezTo>
                  <a:pt x="2017390" y="775018"/>
                  <a:pt x="2017390" y="899654"/>
                  <a:pt x="1940518" y="976527"/>
                </a:cubicBezTo>
                <a:cubicBezTo>
                  <a:pt x="1621001" y="1296044"/>
                  <a:pt x="1301485" y="1615558"/>
                  <a:pt x="981968" y="1935075"/>
                </a:cubicBezTo>
                <a:cubicBezTo>
                  <a:pt x="905096" y="2011947"/>
                  <a:pt x="780460" y="2011947"/>
                  <a:pt x="703587" y="1935075"/>
                </a:cubicBezTo>
                <a:lnTo>
                  <a:pt x="703588" y="1935075"/>
                </a:lnTo>
                <a:cubicBezTo>
                  <a:pt x="626716" y="1858202"/>
                  <a:pt x="626716" y="1733566"/>
                  <a:pt x="703588" y="1656694"/>
                </a:cubicBezTo>
                <a:lnTo>
                  <a:pt x="1662137" y="698146"/>
                </a:lnTo>
                <a:cubicBezTo>
                  <a:pt x="1700573" y="659709"/>
                  <a:pt x="1750950" y="640492"/>
                  <a:pt x="1801327" y="640492"/>
                </a:cubicBezTo>
                <a:close/>
                <a:moveTo>
                  <a:pt x="5415056" y="558428"/>
                </a:moveTo>
                <a:cubicBezTo>
                  <a:pt x="5465433" y="558427"/>
                  <a:pt x="5515810" y="577646"/>
                  <a:pt x="5554246" y="616082"/>
                </a:cubicBezTo>
                <a:cubicBezTo>
                  <a:pt x="5631119" y="692955"/>
                  <a:pt x="5631119" y="817590"/>
                  <a:pt x="5554246" y="894463"/>
                </a:cubicBezTo>
                <a:cubicBezTo>
                  <a:pt x="5367088" y="1081622"/>
                  <a:pt x="5179928" y="1268780"/>
                  <a:pt x="4992769" y="1455938"/>
                </a:cubicBezTo>
                <a:cubicBezTo>
                  <a:pt x="4915897" y="1532810"/>
                  <a:pt x="4791261" y="1532810"/>
                  <a:pt x="4714389" y="1455938"/>
                </a:cubicBezTo>
                <a:lnTo>
                  <a:pt x="4714390" y="1455938"/>
                </a:lnTo>
                <a:cubicBezTo>
                  <a:pt x="4637518" y="1379066"/>
                  <a:pt x="4637518" y="1254430"/>
                  <a:pt x="4714390" y="1177558"/>
                </a:cubicBezTo>
                <a:lnTo>
                  <a:pt x="5275865" y="616082"/>
                </a:lnTo>
                <a:cubicBezTo>
                  <a:pt x="5314302" y="577646"/>
                  <a:pt x="5364679" y="558427"/>
                  <a:pt x="5415056" y="558428"/>
                </a:cubicBezTo>
                <a:close/>
                <a:moveTo>
                  <a:pt x="3398221" y="362921"/>
                </a:moveTo>
                <a:cubicBezTo>
                  <a:pt x="3453269" y="367593"/>
                  <a:pt x="3510100" y="393263"/>
                  <a:pt x="3555664" y="438828"/>
                </a:cubicBezTo>
                <a:cubicBezTo>
                  <a:pt x="3646793" y="529956"/>
                  <a:pt x="3658350" y="666150"/>
                  <a:pt x="3581477" y="743022"/>
                </a:cubicBezTo>
                <a:lnTo>
                  <a:pt x="3194949" y="1129550"/>
                </a:lnTo>
                <a:lnTo>
                  <a:pt x="3230427" y="1136453"/>
                </a:lnTo>
                <a:cubicBezTo>
                  <a:pt x="3258517" y="1147844"/>
                  <a:pt x="3284838" y="1164931"/>
                  <a:pt x="3307620" y="1187714"/>
                </a:cubicBezTo>
                <a:cubicBezTo>
                  <a:pt x="3398750" y="1278843"/>
                  <a:pt x="3398750" y="1426591"/>
                  <a:pt x="3307620" y="1517720"/>
                </a:cubicBezTo>
                <a:lnTo>
                  <a:pt x="2433662" y="2391678"/>
                </a:lnTo>
                <a:lnTo>
                  <a:pt x="2422373" y="2437798"/>
                </a:lnTo>
                <a:cubicBezTo>
                  <a:pt x="2416968" y="2494262"/>
                  <a:pt x="2435885" y="2552616"/>
                  <a:pt x="2479126" y="2595856"/>
                </a:cubicBezTo>
                <a:lnTo>
                  <a:pt x="2479124" y="2595856"/>
                </a:lnTo>
                <a:cubicBezTo>
                  <a:pt x="2536778" y="2653510"/>
                  <a:pt x="2621300" y="2667924"/>
                  <a:pt x="2692389" y="2639097"/>
                </a:cubicBezTo>
                <a:lnTo>
                  <a:pt x="2747947" y="2602203"/>
                </a:lnTo>
                <a:lnTo>
                  <a:pt x="2720578" y="2643419"/>
                </a:lnTo>
                <a:lnTo>
                  <a:pt x="3001666" y="2362331"/>
                </a:lnTo>
                <a:cubicBezTo>
                  <a:pt x="3078539" y="2285458"/>
                  <a:pt x="3203175" y="2285458"/>
                  <a:pt x="3280047" y="2362331"/>
                </a:cubicBezTo>
                <a:cubicBezTo>
                  <a:pt x="3318483" y="2400767"/>
                  <a:pt x="3337702" y="2451144"/>
                  <a:pt x="3337702" y="2501521"/>
                </a:cubicBezTo>
                <a:lnTo>
                  <a:pt x="3323996" y="2571957"/>
                </a:lnTo>
                <a:lnTo>
                  <a:pt x="4157629" y="1738324"/>
                </a:lnTo>
                <a:cubicBezTo>
                  <a:pt x="4234501" y="1661451"/>
                  <a:pt x="4359137" y="1661451"/>
                  <a:pt x="4436009" y="1738324"/>
                </a:cubicBezTo>
                <a:cubicBezTo>
                  <a:pt x="4493664" y="1795978"/>
                  <a:pt x="4508077" y="1880500"/>
                  <a:pt x="4479250" y="1951587"/>
                </a:cubicBezTo>
                <a:lnTo>
                  <a:pt x="4448131" y="1998450"/>
                </a:lnTo>
                <a:lnTo>
                  <a:pt x="4674595" y="1771986"/>
                </a:lnTo>
                <a:cubicBezTo>
                  <a:pt x="4751467" y="1695114"/>
                  <a:pt x="4876103" y="1695114"/>
                  <a:pt x="4952976" y="1771986"/>
                </a:cubicBezTo>
                <a:cubicBezTo>
                  <a:pt x="5029848" y="1848859"/>
                  <a:pt x="5029848" y="1973495"/>
                  <a:pt x="4952976" y="2050367"/>
                </a:cubicBezTo>
                <a:lnTo>
                  <a:pt x="4469632" y="2533711"/>
                </a:lnTo>
                <a:lnTo>
                  <a:pt x="4435096" y="2603260"/>
                </a:lnTo>
                <a:cubicBezTo>
                  <a:pt x="4404831" y="2684584"/>
                  <a:pt x="4407903" y="2758783"/>
                  <a:pt x="4451144" y="2802024"/>
                </a:cubicBezTo>
                <a:lnTo>
                  <a:pt x="4451142" y="2802024"/>
                </a:lnTo>
                <a:cubicBezTo>
                  <a:pt x="4508796" y="2859678"/>
                  <a:pt x="4621488" y="2845922"/>
                  <a:pt x="4732722" y="2776949"/>
                </a:cubicBezTo>
                <a:lnTo>
                  <a:pt x="4786773" y="2733781"/>
                </a:lnTo>
                <a:lnTo>
                  <a:pt x="4852843" y="2667710"/>
                </a:lnTo>
                <a:cubicBezTo>
                  <a:pt x="4929716" y="2590838"/>
                  <a:pt x="5054352" y="2590838"/>
                  <a:pt x="5131224" y="2667710"/>
                </a:cubicBezTo>
                <a:cubicBezTo>
                  <a:pt x="5208097" y="2744583"/>
                  <a:pt x="5208097" y="2869219"/>
                  <a:pt x="5131224" y="2946091"/>
                </a:cubicBezTo>
                <a:cubicBezTo>
                  <a:pt x="4267397" y="3809918"/>
                  <a:pt x="3403568" y="4673745"/>
                  <a:pt x="2539741" y="5537573"/>
                </a:cubicBezTo>
                <a:cubicBezTo>
                  <a:pt x="2462869" y="5614445"/>
                  <a:pt x="2338233" y="5614445"/>
                  <a:pt x="2261360" y="5537573"/>
                </a:cubicBezTo>
                <a:lnTo>
                  <a:pt x="2261362" y="5537573"/>
                </a:lnTo>
                <a:cubicBezTo>
                  <a:pt x="2203707" y="5479918"/>
                  <a:pt x="2189294" y="5395397"/>
                  <a:pt x="2218121" y="5324309"/>
                </a:cubicBezTo>
                <a:lnTo>
                  <a:pt x="2224247" y="5315083"/>
                </a:lnTo>
                <a:lnTo>
                  <a:pt x="2218747" y="5319476"/>
                </a:lnTo>
                <a:lnTo>
                  <a:pt x="2234074" y="5300285"/>
                </a:lnTo>
                <a:lnTo>
                  <a:pt x="2261362" y="5259192"/>
                </a:lnTo>
                <a:lnTo>
                  <a:pt x="2280116" y="5240438"/>
                </a:lnTo>
                <a:lnTo>
                  <a:pt x="2318353" y="5163434"/>
                </a:lnTo>
                <a:cubicBezTo>
                  <a:pt x="2348617" y="5082111"/>
                  <a:pt x="2345545" y="5007912"/>
                  <a:pt x="2302304" y="4964671"/>
                </a:cubicBezTo>
                <a:cubicBezTo>
                  <a:pt x="2244650" y="4907017"/>
                  <a:pt x="2131959" y="4920773"/>
                  <a:pt x="2020726" y="4989746"/>
                </a:cubicBezTo>
                <a:lnTo>
                  <a:pt x="1985311" y="5018031"/>
                </a:lnTo>
                <a:lnTo>
                  <a:pt x="1972923" y="5030418"/>
                </a:lnTo>
                <a:lnTo>
                  <a:pt x="1954395" y="5042722"/>
                </a:lnTo>
                <a:lnTo>
                  <a:pt x="1941186" y="5053271"/>
                </a:lnTo>
                <a:lnTo>
                  <a:pt x="1944210" y="5049485"/>
                </a:lnTo>
                <a:lnTo>
                  <a:pt x="1907806" y="5073659"/>
                </a:lnTo>
                <a:cubicBezTo>
                  <a:pt x="1836718" y="5102486"/>
                  <a:pt x="1752197" y="5088073"/>
                  <a:pt x="1694543" y="5030418"/>
                </a:cubicBezTo>
                <a:lnTo>
                  <a:pt x="1694544" y="5030418"/>
                </a:lnTo>
                <a:cubicBezTo>
                  <a:pt x="1617672" y="4953546"/>
                  <a:pt x="1617672" y="4828909"/>
                  <a:pt x="1694544" y="4752037"/>
                </a:cubicBezTo>
                <a:lnTo>
                  <a:pt x="1735435" y="4711146"/>
                </a:lnTo>
                <a:lnTo>
                  <a:pt x="1688569" y="4742267"/>
                </a:lnTo>
                <a:cubicBezTo>
                  <a:pt x="1617481" y="4771094"/>
                  <a:pt x="1532959" y="4756681"/>
                  <a:pt x="1475305" y="4699026"/>
                </a:cubicBezTo>
                <a:lnTo>
                  <a:pt x="1475306" y="4699026"/>
                </a:lnTo>
                <a:cubicBezTo>
                  <a:pt x="1436870" y="4660590"/>
                  <a:pt x="1417652" y="4610213"/>
                  <a:pt x="1417652" y="4559836"/>
                </a:cubicBezTo>
                <a:lnTo>
                  <a:pt x="1431358" y="4489400"/>
                </a:lnTo>
                <a:lnTo>
                  <a:pt x="597725" y="5323034"/>
                </a:lnTo>
                <a:cubicBezTo>
                  <a:pt x="520852" y="5399906"/>
                  <a:pt x="396216" y="5399906"/>
                  <a:pt x="319344" y="5323034"/>
                </a:cubicBezTo>
                <a:lnTo>
                  <a:pt x="319345" y="5323034"/>
                </a:lnTo>
                <a:cubicBezTo>
                  <a:pt x="242473" y="5246162"/>
                  <a:pt x="242473" y="5121526"/>
                  <a:pt x="319345" y="5044653"/>
                </a:cubicBezTo>
                <a:lnTo>
                  <a:pt x="1316675" y="4047323"/>
                </a:lnTo>
                <a:lnTo>
                  <a:pt x="1304888" y="4055149"/>
                </a:lnTo>
                <a:lnTo>
                  <a:pt x="1334030" y="4011265"/>
                </a:lnTo>
                <a:cubicBezTo>
                  <a:pt x="1362855" y="3940177"/>
                  <a:pt x="1348442" y="3855656"/>
                  <a:pt x="1290788" y="3798001"/>
                </a:cubicBezTo>
                <a:cubicBezTo>
                  <a:pt x="1233134" y="3740348"/>
                  <a:pt x="1148613" y="3725934"/>
                  <a:pt x="1077526" y="3754761"/>
                </a:cubicBezTo>
                <a:lnTo>
                  <a:pt x="1056849" y="3768492"/>
                </a:lnTo>
                <a:lnTo>
                  <a:pt x="651781" y="4173559"/>
                </a:lnTo>
                <a:cubicBezTo>
                  <a:pt x="560652" y="4264688"/>
                  <a:pt x="412904" y="4264688"/>
                  <a:pt x="321774" y="4173559"/>
                </a:cubicBezTo>
                <a:cubicBezTo>
                  <a:pt x="230645" y="4082430"/>
                  <a:pt x="230645" y="3934681"/>
                  <a:pt x="321774" y="3843552"/>
                </a:cubicBezTo>
                <a:lnTo>
                  <a:pt x="804490" y="3360836"/>
                </a:lnTo>
                <a:lnTo>
                  <a:pt x="803151" y="3353366"/>
                </a:lnTo>
                <a:cubicBezTo>
                  <a:pt x="791825" y="3312023"/>
                  <a:pt x="768841" y="3271513"/>
                  <a:pt x="734668" y="3237340"/>
                </a:cubicBezTo>
                <a:cubicBezTo>
                  <a:pt x="711886" y="3214558"/>
                  <a:pt x="686287" y="3196749"/>
                  <a:pt x="659503" y="3184052"/>
                </a:cubicBezTo>
                <a:lnTo>
                  <a:pt x="639038" y="3178426"/>
                </a:lnTo>
                <a:lnTo>
                  <a:pt x="398354" y="3419110"/>
                </a:lnTo>
                <a:cubicBezTo>
                  <a:pt x="307225" y="3510239"/>
                  <a:pt x="159477" y="3510239"/>
                  <a:pt x="68348" y="3419110"/>
                </a:cubicBezTo>
                <a:cubicBezTo>
                  <a:pt x="-22782" y="3327981"/>
                  <a:pt x="-22782" y="3180232"/>
                  <a:pt x="68348" y="3089103"/>
                </a:cubicBezTo>
                <a:lnTo>
                  <a:pt x="2515555" y="641896"/>
                </a:lnTo>
                <a:cubicBezTo>
                  <a:pt x="2561119" y="596332"/>
                  <a:pt x="2620838" y="573550"/>
                  <a:pt x="2680558" y="573550"/>
                </a:cubicBezTo>
                <a:cubicBezTo>
                  <a:pt x="2740277" y="573550"/>
                  <a:pt x="2799997" y="596332"/>
                  <a:pt x="2845561" y="641896"/>
                </a:cubicBezTo>
                <a:cubicBezTo>
                  <a:pt x="2868344" y="664678"/>
                  <a:pt x="2885430" y="691000"/>
                  <a:pt x="2896821" y="719090"/>
                </a:cubicBezTo>
                <a:lnTo>
                  <a:pt x="2907926" y="756558"/>
                </a:lnTo>
                <a:lnTo>
                  <a:pt x="3251470" y="413014"/>
                </a:lnTo>
                <a:cubicBezTo>
                  <a:pt x="3289906" y="374578"/>
                  <a:pt x="3343172" y="358250"/>
                  <a:pt x="3398221" y="362921"/>
                </a:cubicBezTo>
                <a:close/>
                <a:moveTo>
                  <a:pt x="4755635" y="355359"/>
                </a:moveTo>
                <a:cubicBezTo>
                  <a:pt x="4806012" y="355359"/>
                  <a:pt x="4856389" y="374578"/>
                  <a:pt x="4894825" y="413014"/>
                </a:cubicBezTo>
                <a:cubicBezTo>
                  <a:pt x="4971698" y="489886"/>
                  <a:pt x="4971698" y="614522"/>
                  <a:pt x="4894825" y="691395"/>
                </a:cubicBezTo>
                <a:cubicBezTo>
                  <a:pt x="4487718" y="1098502"/>
                  <a:pt x="4080610" y="1505609"/>
                  <a:pt x="3673502" y="1912716"/>
                </a:cubicBezTo>
                <a:cubicBezTo>
                  <a:pt x="3596630" y="1989588"/>
                  <a:pt x="3471994" y="1989588"/>
                  <a:pt x="3395121" y="1912716"/>
                </a:cubicBezTo>
                <a:lnTo>
                  <a:pt x="3395123" y="1912716"/>
                </a:lnTo>
                <a:cubicBezTo>
                  <a:pt x="3318250" y="1835843"/>
                  <a:pt x="3318250" y="1711207"/>
                  <a:pt x="3395123" y="1634335"/>
                </a:cubicBezTo>
                <a:lnTo>
                  <a:pt x="4616445" y="413014"/>
                </a:lnTo>
                <a:cubicBezTo>
                  <a:pt x="4654881" y="374578"/>
                  <a:pt x="4705258" y="355359"/>
                  <a:pt x="4755635" y="355359"/>
                </a:cubicBezTo>
                <a:close/>
                <a:moveTo>
                  <a:pt x="3791507" y="9054"/>
                </a:moveTo>
                <a:cubicBezTo>
                  <a:pt x="3909926" y="9054"/>
                  <a:pt x="4005923" y="105051"/>
                  <a:pt x="4005923" y="223470"/>
                </a:cubicBezTo>
                <a:cubicBezTo>
                  <a:pt x="4005923" y="341889"/>
                  <a:pt x="3909926" y="437886"/>
                  <a:pt x="3791507" y="437886"/>
                </a:cubicBezTo>
                <a:cubicBezTo>
                  <a:pt x="3673088" y="437886"/>
                  <a:pt x="3577091" y="341889"/>
                  <a:pt x="3577091" y="223470"/>
                </a:cubicBezTo>
                <a:cubicBezTo>
                  <a:pt x="3577091" y="105051"/>
                  <a:pt x="3673088" y="9054"/>
                  <a:pt x="3791507" y="9054"/>
                </a:cubicBezTo>
                <a:close/>
                <a:moveTo>
                  <a:pt x="5117437" y="0"/>
                </a:moveTo>
                <a:cubicBezTo>
                  <a:pt x="5238356" y="0"/>
                  <a:pt x="5336380" y="98024"/>
                  <a:pt x="5336380" y="218943"/>
                </a:cubicBezTo>
                <a:cubicBezTo>
                  <a:pt x="5336380" y="339862"/>
                  <a:pt x="5238356" y="437886"/>
                  <a:pt x="5117437" y="437886"/>
                </a:cubicBezTo>
                <a:cubicBezTo>
                  <a:pt x="4996518" y="437886"/>
                  <a:pt x="4898494" y="339862"/>
                  <a:pt x="4898494" y="218943"/>
                </a:cubicBezTo>
                <a:cubicBezTo>
                  <a:pt x="4898494" y="98024"/>
                  <a:pt x="4996518" y="0"/>
                  <a:pt x="5117437" y="0"/>
                </a:cubicBezTo>
                <a:close/>
              </a:path>
            </a:pathLst>
          </a:custGeom>
          <a:blipFill>
            <a:blip r:embed="rId2"/>
            <a:stretch>
              <a:fillRect/>
            </a:stretch>
          </a:blipFill>
          <a:effectLst>
            <a:outerShdw blurRad="50800" sx="101000" sy="101000" algn="ctr" rotWithShape="0">
              <a:prstClr val="black">
                <a:alpha val="10000"/>
              </a:prstClr>
            </a:outerShdw>
          </a:effectLst>
        </p:spPr>
        <p:txBody>
          <a:bodyPr wrap="square">
            <a:noAutofit/>
          </a:bodyPr>
          <a:lstStyle>
            <a:lvl1pPr marL="0" indent="0">
              <a:buNone/>
              <a:defRPr sz="1400"/>
            </a:lvl1pPr>
          </a:lstStyle>
          <a:p>
            <a:endParaRPr lang="en-US"/>
          </a:p>
        </p:txBody>
      </p:sp>
      <p:sp>
        <p:nvSpPr>
          <p:cNvPr id="3" name="Date Placeholder 2">
            <a:extLst>
              <a:ext uri="{FF2B5EF4-FFF2-40B4-BE49-F238E27FC236}">
                <a16:creationId xmlns:a16="http://schemas.microsoft.com/office/drawing/2014/main" id="{FB4E287B-EE53-9F44-85CE-CE9820084FB7}"/>
              </a:ext>
            </a:extLst>
          </p:cNvPr>
          <p:cNvSpPr>
            <a:spLocks noGrp="1"/>
          </p:cNvSpPr>
          <p:nvPr>
            <p:ph type="dt" sz="half" idx="10"/>
          </p:nvPr>
        </p:nvSpPr>
        <p:spPr/>
        <p:txBody>
          <a:bodyPr/>
          <a:lstStyle/>
          <a:p>
            <a:fld id="{6A0C4EFF-7BB9-A045-B777-5D40845EB54B}" type="datetimeFigureOut">
              <a:rPr lang="en-US" smtClean="0"/>
              <a:t>4/15/2020</a:t>
            </a:fld>
            <a:endParaRPr lang="en-US" dirty="0"/>
          </a:p>
        </p:txBody>
      </p:sp>
      <p:sp>
        <p:nvSpPr>
          <p:cNvPr id="4" name="Footer Placeholder 3">
            <a:extLst>
              <a:ext uri="{FF2B5EF4-FFF2-40B4-BE49-F238E27FC236}">
                <a16:creationId xmlns:a16="http://schemas.microsoft.com/office/drawing/2014/main" id="{5F16B9AC-8900-A349-8C43-DE8EB8ED29A5}"/>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FEA668CB-A00E-DA4B-AC67-328AA6AD3F20}"/>
              </a:ext>
            </a:extLst>
          </p:cNvPr>
          <p:cNvSpPr>
            <a:spLocks noGrp="1"/>
          </p:cNvSpPr>
          <p:nvPr>
            <p:ph type="sldNum" sz="quarter" idx="12"/>
          </p:nvPr>
        </p:nvSpPr>
        <p:spPr/>
        <p:txBody>
          <a:bodyPr/>
          <a:lstStyle/>
          <a:p>
            <a:fld id="{3BA69586-E6B3-B646-96E5-E7A8350A3CCE}" type="slidenum">
              <a:rPr lang="en-US" smtClean="0"/>
              <a:pPr/>
              <a:t>‹#›</a:t>
            </a:fld>
            <a:endParaRPr lang="en-US" dirty="0"/>
          </a:p>
        </p:txBody>
      </p:sp>
    </p:spTree>
    <p:extLst>
      <p:ext uri="{BB962C8B-B14F-4D97-AF65-F5344CB8AC3E}">
        <p14:creationId xmlns:p14="http://schemas.microsoft.com/office/powerpoint/2010/main" val="424526182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219D25E1-3C5D-2444-AC9C-E160DAC556A6}"/>
              </a:ext>
            </a:extLst>
          </p:cNvPr>
          <p:cNvSpPr>
            <a:spLocks noGrp="1"/>
          </p:cNvSpPr>
          <p:nvPr>
            <p:ph type="pic" sz="quarter" idx="13"/>
          </p:nvPr>
        </p:nvSpPr>
        <p:spPr>
          <a:xfrm>
            <a:off x="9728" y="0"/>
            <a:ext cx="6079787" cy="6858000"/>
          </a:xfrm>
          <a:custGeom>
            <a:avLst/>
            <a:gdLst>
              <a:gd name="connsiteX0" fmla="*/ 0 w 6079787"/>
              <a:gd name="connsiteY0" fmla="*/ 0 h 6858000"/>
              <a:gd name="connsiteX1" fmla="*/ 6079787 w 6079787"/>
              <a:gd name="connsiteY1" fmla="*/ 0 h 6858000"/>
              <a:gd name="connsiteX2" fmla="*/ 6079787 w 6079787"/>
              <a:gd name="connsiteY2" fmla="*/ 6858000 h 6858000"/>
              <a:gd name="connsiteX3" fmla="*/ 0 w 607978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79787" h="6858000">
                <a:moveTo>
                  <a:pt x="0" y="0"/>
                </a:moveTo>
                <a:lnTo>
                  <a:pt x="6079787" y="0"/>
                </a:lnTo>
                <a:lnTo>
                  <a:pt x="6079787" y="6858000"/>
                </a:lnTo>
                <a:lnTo>
                  <a:pt x="0" y="6858000"/>
                </a:lnTo>
                <a:close/>
              </a:path>
            </a:pathLst>
          </a:custGeom>
          <a:blipFill>
            <a:blip r:embed="rId2"/>
            <a:stretch>
              <a:fillRect/>
            </a:stretch>
          </a:blipFill>
        </p:spPr>
        <p:txBody>
          <a:bodyPr wrap="square">
            <a:noAutofit/>
          </a:bodyPr>
          <a:lstStyle>
            <a:lvl1pPr marL="0" indent="0">
              <a:buNone/>
              <a:defRPr sz="1400"/>
            </a:lvl1pPr>
          </a:lstStyle>
          <a:p>
            <a:endParaRPr lang="en-US"/>
          </a:p>
        </p:txBody>
      </p:sp>
      <p:sp>
        <p:nvSpPr>
          <p:cNvPr id="3" name="Date Placeholder 2">
            <a:extLst>
              <a:ext uri="{FF2B5EF4-FFF2-40B4-BE49-F238E27FC236}">
                <a16:creationId xmlns:a16="http://schemas.microsoft.com/office/drawing/2014/main" id="{A8D93FBD-0408-B445-B45A-0FC9B026A9E6}"/>
              </a:ext>
            </a:extLst>
          </p:cNvPr>
          <p:cNvSpPr>
            <a:spLocks noGrp="1"/>
          </p:cNvSpPr>
          <p:nvPr>
            <p:ph type="dt" sz="half" idx="10"/>
          </p:nvPr>
        </p:nvSpPr>
        <p:spPr/>
        <p:txBody>
          <a:bodyPr/>
          <a:lstStyle/>
          <a:p>
            <a:fld id="{6A0C4EFF-7BB9-A045-B777-5D40845EB54B}" type="datetimeFigureOut">
              <a:rPr lang="en-US" smtClean="0"/>
              <a:t>4/15/2020</a:t>
            </a:fld>
            <a:endParaRPr lang="en-US" dirty="0"/>
          </a:p>
        </p:txBody>
      </p:sp>
      <p:sp>
        <p:nvSpPr>
          <p:cNvPr id="4" name="Footer Placeholder 3">
            <a:extLst>
              <a:ext uri="{FF2B5EF4-FFF2-40B4-BE49-F238E27FC236}">
                <a16:creationId xmlns:a16="http://schemas.microsoft.com/office/drawing/2014/main" id="{B6E2FA89-3FA6-B941-B0D5-159A8B1969DF}"/>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E1667FB-003E-3743-9288-2248E20014AE}"/>
              </a:ext>
            </a:extLst>
          </p:cNvPr>
          <p:cNvSpPr>
            <a:spLocks noGrp="1"/>
          </p:cNvSpPr>
          <p:nvPr>
            <p:ph type="sldNum" sz="quarter" idx="12"/>
          </p:nvPr>
        </p:nvSpPr>
        <p:spPr/>
        <p:txBody>
          <a:bodyPr/>
          <a:lstStyle/>
          <a:p>
            <a:fld id="{3BA69586-E6B3-B646-96E5-E7A8350A3CCE}" type="slidenum">
              <a:rPr lang="en-US" smtClean="0"/>
              <a:pPr/>
              <a:t>‹#›</a:t>
            </a:fld>
            <a:endParaRPr lang="en-US" dirty="0"/>
          </a:p>
        </p:txBody>
      </p:sp>
    </p:spTree>
    <p:extLst>
      <p:ext uri="{BB962C8B-B14F-4D97-AF65-F5344CB8AC3E}">
        <p14:creationId xmlns:p14="http://schemas.microsoft.com/office/powerpoint/2010/main" val="11055561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0_Custom Layout">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959CE00A-BF7F-D74D-90ED-0D5049C813D8}"/>
              </a:ext>
            </a:extLst>
          </p:cNvPr>
          <p:cNvSpPr>
            <a:spLocks noGrp="1"/>
          </p:cNvSpPr>
          <p:nvPr>
            <p:ph type="pic" sz="quarter" idx="15"/>
          </p:nvPr>
        </p:nvSpPr>
        <p:spPr>
          <a:xfrm>
            <a:off x="9046151" y="4545529"/>
            <a:ext cx="2851233" cy="1832197"/>
          </a:xfrm>
          <a:custGeom>
            <a:avLst/>
            <a:gdLst>
              <a:gd name="connsiteX0" fmla="*/ 0 w 2851233"/>
              <a:gd name="connsiteY0" fmla="*/ 0 h 1832197"/>
              <a:gd name="connsiteX1" fmla="*/ 2851233 w 2851233"/>
              <a:gd name="connsiteY1" fmla="*/ 0 h 1832197"/>
              <a:gd name="connsiteX2" fmla="*/ 2851233 w 2851233"/>
              <a:gd name="connsiteY2" fmla="*/ 1832197 h 1832197"/>
              <a:gd name="connsiteX3" fmla="*/ 0 w 2851233"/>
              <a:gd name="connsiteY3" fmla="*/ 1832197 h 1832197"/>
            </a:gdLst>
            <a:ahLst/>
            <a:cxnLst>
              <a:cxn ang="0">
                <a:pos x="connsiteX0" y="connsiteY0"/>
              </a:cxn>
              <a:cxn ang="0">
                <a:pos x="connsiteX1" y="connsiteY1"/>
              </a:cxn>
              <a:cxn ang="0">
                <a:pos x="connsiteX2" y="connsiteY2"/>
              </a:cxn>
              <a:cxn ang="0">
                <a:pos x="connsiteX3" y="connsiteY3"/>
              </a:cxn>
            </a:cxnLst>
            <a:rect l="l" t="t" r="r" b="b"/>
            <a:pathLst>
              <a:path w="2851233" h="1832197">
                <a:moveTo>
                  <a:pt x="0" y="0"/>
                </a:moveTo>
                <a:lnTo>
                  <a:pt x="2851233" y="0"/>
                </a:lnTo>
                <a:lnTo>
                  <a:pt x="2851233" y="1832197"/>
                </a:lnTo>
                <a:lnTo>
                  <a:pt x="0" y="1832197"/>
                </a:lnTo>
                <a:close/>
              </a:path>
            </a:pathLst>
          </a:custGeom>
          <a:blipFill>
            <a:blip r:embed="rId2"/>
            <a:stretch>
              <a:fillRect/>
            </a:stretch>
          </a:blipFill>
        </p:spPr>
        <p:txBody>
          <a:bodyPr wrap="square">
            <a:noAutofit/>
          </a:bodyPr>
          <a:lstStyle>
            <a:lvl1pPr marL="0" indent="0">
              <a:buNone/>
              <a:defRPr sz="1400"/>
            </a:lvl1pPr>
          </a:lstStyle>
          <a:p>
            <a:endParaRPr lang="en-US" dirty="0"/>
          </a:p>
        </p:txBody>
      </p:sp>
      <p:sp>
        <p:nvSpPr>
          <p:cNvPr id="14" name="Picture Placeholder 13">
            <a:extLst>
              <a:ext uri="{FF2B5EF4-FFF2-40B4-BE49-F238E27FC236}">
                <a16:creationId xmlns:a16="http://schemas.microsoft.com/office/drawing/2014/main" id="{542DC6EA-E720-1348-B67E-AFA2822F9ECD}"/>
              </a:ext>
            </a:extLst>
          </p:cNvPr>
          <p:cNvSpPr>
            <a:spLocks noGrp="1"/>
          </p:cNvSpPr>
          <p:nvPr>
            <p:ph type="pic" sz="quarter" idx="14"/>
          </p:nvPr>
        </p:nvSpPr>
        <p:spPr>
          <a:xfrm>
            <a:off x="5991918" y="315590"/>
            <a:ext cx="2851233" cy="1832197"/>
          </a:xfrm>
          <a:custGeom>
            <a:avLst/>
            <a:gdLst>
              <a:gd name="connsiteX0" fmla="*/ 0 w 2851233"/>
              <a:gd name="connsiteY0" fmla="*/ 0 h 1832197"/>
              <a:gd name="connsiteX1" fmla="*/ 2851233 w 2851233"/>
              <a:gd name="connsiteY1" fmla="*/ 0 h 1832197"/>
              <a:gd name="connsiteX2" fmla="*/ 2851233 w 2851233"/>
              <a:gd name="connsiteY2" fmla="*/ 1832197 h 1832197"/>
              <a:gd name="connsiteX3" fmla="*/ 0 w 2851233"/>
              <a:gd name="connsiteY3" fmla="*/ 1832197 h 1832197"/>
            </a:gdLst>
            <a:ahLst/>
            <a:cxnLst>
              <a:cxn ang="0">
                <a:pos x="connsiteX0" y="connsiteY0"/>
              </a:cxn>
              <a:cxn ang="0">
                <a:pos x="connsiteX1" y="connsiteY1"/>
              </a:cxn>
              <a:cxn ang="0">
                <a:pos x="connsiteX2" y="connsiteY2"/>
              </a:cxn>
              <a:cxn ang="0">
                <a:pos x="connsiteX3" y="connsiteY3"/>
              </a:cxn>
            </a:cxnLst>
            <a:rect l="l" t="t" r="r" b="b"/>
            <a:pathLst>
              <a:path w="2851233" h="1832197">
                <a:moveTo>
                  <a:pt x="0" y="0"/>
                </a:moveTo>
                <a:lnTo>
                  <a:pt x="2851233" y="0"/>
                </a:lnTo>
                <a:lnTo>
                  <a:pt x="2851233" y="1832197"/>
                </a:lnTo>
                <a:lnTo>
                  <a:pt x="0" y="1832197"/>
                </a:lnTo>
                <a:close/>
              </a:path>
            </a:pathLst>
          </a:custGeom>
          <a:blipFill>
            <a:blip r:embed="rId2"/>
            <a:stretch>
              <a:fillRect/>
            </a:stretch>
          </a:blipFill>
        </p:spPr>
        <p:txBody>
          <a:bodyPr wrap="square">
            <a:noAutofit/>
          </a:bodyPr>
          <a:lstStyle>
            <a:lvl1pPr marL="0" indent="0">
              <a:buNone/>
              <a:defRPr sz="1400"/>
            </a:lvl1pPr>
          </a:lstStyle>
          <a:p>
            <a:endParaRPr lang="en-US"/>
          </a:p>
        </p:txBody>
      </p:sp>
      <p:sp>
        <p:nvSpPr>
          <p:cNvPr id="11" name="Picture Placeholder 10">
            <a:extLst>
              <a:ext uri="{FF2B5EF4-FFF2-40B4-BE49-F238E27FC236}">
                <a16:creationId xmlns:a16="http://schemas.microsoft.com/office/drawing/2014/main" id="{7929C334-8560-5D4E-8EF7-2EACCF1A58B1}"/>
              </a:ext>
            </a:extLst>
          </p:cNvPr>
          <p:cNvSpPr>
            <a:spLocks noGrp="1"/>
          </p:cNvSpPr>
          <p:nvPr>
            <p:ph type="pic" sz="quarter" idx="13"/>
          </p:nvPr>
        </p:nvSpPr>
        <p:spPr>
          <a:xfrm>
            <a:off x="2971923" y="4527423"/>
            <a:ext cx="2851233" cy="1832197"/>
          </a:xfrm>
          <a:custGeom>
            <a:avLst/>
            <a:gdLst>
              <a:gd name="connsiteX0" fmla="*/ 0 w 2851233"/>
              <a:gd name="connsiteY0" fmla="*/ 0 h 1832197"/>
              <a:gd name="connsiteX1" fmla="*/ 2851233 w 2851233"/>
              <a:gd name="connsiteY1" fmla="*/ 0 h 1832197"/>
              <a:gd name="connsiteX2" fmla="*/ 2851233 w 2851233"/>
              <a:gd name="connsiteY2" fmla="*/ 1832197 h 1832197"/>
              <a:gd name="connsiteX3" fmla="*/ 0 w 2851233"/>
              <a:gd name="connsiteY3" fmla="*/ 1832197 h 1832197"/>
            </a:gdLst>
            <a:ahLst/>
            <a:cxnLst>
              <a:cxn ang="0">
                <a:pos x="connsiteX0" y="connsiteY0"/>
              </a:cxn>
              <a:cxn ang="0">
                <a:pos x="connsiteX1" y="connsiteY1"/>
              </a:cxn>
              <a:cxn ang="0">
                <a:pos x="connsiteX2" y="connsiteY2"/>
              </a:cxn>
              <a:cxn ang="0">
                <a:pos x="connsiteX3" y="connsiteY3"/>
              </a:cxn>
            </a:cxnLst>
            <a:rect l="l" t="t" r="r" b="b"/>
            <a:pathLst>
              <a:path w="2851233" h="1832197">
                <a:moveTo>
                  <a:pt x="0" y="0"/>
                </a:moveTo>
                <a:lnTo>
                  <a:pt x="2851233" y="0"/>
                </a:lnTo>
                <a:lnTo>
                  <a:pt x="2851233" y="1832197"/>
                </a:lnTo>
                <a:lnTo>
                  <a:pt x="0" y="1832197"/>
                </a:lnTo>
                <a:close/>
              </a:path>
            </a:pathLst>
          </a:custGeom>
          <a:blipFill>
            <a:blip r:embed="rId2"/>
            <a:stretch>
              <a:fillRect/>
            </a:stretch>
          </a:blipFill>
        </p:spPr>
        <p:txBody>
          <a:bodyPr wrap="square">
            <a:noAutofit/>
          </a:bodyPr>
          <a:lstStyle>
            <a:lvl1pPr marL="0" indent="0">
              <a:buNone/>
              <a:defRPr sz="1400"/>
            </a:lvl1pPr>
          </a:lstStyle>
          <a:p>
            <a:endParaRPr lang="en-US"/>
          </a:p>
        </p:txBody>
      </p:sp>
      <p:sp>
        <p:nvSpPr>
          <p:cNvPr id="3" name="Date Placeholder 2">
            <a:extLst>
              <a:ext uri="{FF2B5EF4-FFF2-40B4-BE49-F238E27FC236}">
                <a16:creationId xmlns:a16="http://schemas.microsoft.com/office/drawing/2014/main" id="{B330A0A2-369D-594C-B70F-060FFACA7A02}"/>
              </a:ext>
            </a:extLst>
          </p:cNvPr>
          <p:cNvSpPr>
            <a:spLocks noGrp="1"/>
          </p:cNvSpPr>
          <p:nvPr>
            <p:ph type="dt" sz="half" idx="10"/>
          </p:nvPr>
        </p:nvSpPr>
        <p:spPr/>
        <p:txBody>
          <a:bodyPr/>
          <a:lstStyle/>
          <a:p>
            <a:fld id="{6A0C4EFF-7BB9-A045-B777-5D40845EB54B}" type="datetimeFigureOut">
              <a:rPr lang="en-US" smtClean="0"/>
              <a:t>4/15/2020</a:t>
            </a:fld>
            <a:endParaRPr lang="en-US" dirty="0"/>
          </a:p>
        </p:txBody>
      </p:sp>
      <p:sp>
        <p:nvSpPr>
          <p:cNvPr id="4" name="Footer Placeholder 3">
            <a:extLst>
              <a:ext uri="{FF2B5EF4-FFF2-40B4-BE49-F238E27FC236}">
                <a16:creationId xmlns:a16="http://schemas.microsoft.com/office/drawing/2014/main" id="{778128B9-3693-444E-A50A-64D20729D05B}"/>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0510B2C2-CFD3-104E-BB38-755FA47E67DC}"/>
              </a:ext>
            </a:extLst>
          </p:cNvPr>
          <p:cNvSpPr>
            <a:spLocks noGrp="1"/>
          </p:cNvSpPr>
          <p:nvPr>
            <p:ph type="sldNum" sz="quarter" idx="12"/>
          </p:nvPr>
        </p:nvSpPr>
        <p:spPr/>
        <p:txBody>
          <a:bodyPr/>
          <a:lstStyle/>
          <a:p>
            <a:fld id="{3BA69586-E6B3-B646-96E5-E7A8350A3CCE}" type="slidenum">
              <a:rPr lang="en-US" smtClean="0"/>
              <a:pPr/>
              <a:t>‹#›</a:t>
            </a:fld>
            <a:endParaRPr lang="en-US" dirty="0"/>
          </a:p>
        </p:txBody>
      </p:sp>
    </p:spTree>
    <p:extLst>
      <p:ext uri="{BB962C8B-B14F-4D97-AF65-F5344CB8AC3E}">
        <p14:creationId xmlns:p14="http://schemas.microsoft.com/office/powerpoint/2010/main" val="21815001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9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BBDFC818-3F78-3C4F-A24F-EAB96BAE3670}"/>
              </a:ext>
            </a:extLst>
          </p:cNvPr>
          <p:cNvSpPr>
            <a:spLocks noGrp="1"/>
          </p:cNvSpPr>
          <p:nvPr>
            <p:ph type="pic" sz="quarter" idx="13"/>
          </p:nvPr>
        </p:nvSpPr>
        <p:spPr>
          <a:xfrm>
            <a:off x="5346356" y="0"/>
            <a:ext cx="6845644" cy="6858000"/>
          </a:xfrm>
          <a:custGeom>
            <a:avLst/>
            <a:gdLst>
              <a:gd name="connsiteX0" fmla="*/ 3422822 w 6845644"/>
              <a:gd name="connsiteY0" fmla="*/ 0 h 6858000"/>
              <a:gd name="connsiteX1" fmla="*/ 6845644 w 6845644"/>
              <a:gd name="connsiteY1" fmla="*/ 0 h 6858000"/>
              <a:gd name="connsiteX2" fmla="*/ 6845644 w 6845644"/>
              <a:gd name="connsiteY2" fmla="*/ 3435178 h 6858000"/>
              <a:gd name="connsiteX3" fmla="*/ 3422822 w 6845644"/>
              <a:gd name="connsiteY3" fmla="*/ 6858000 h 6858000"/>
              <a:gd name="connsiteX4" fmla="*/ 1 w 6845644"/>
              <a:gd name="connsiteY4" fmla="*/ 6858000 h 6858000"/>
              <a:gd name="connsiteX5" fmla="*/ 0 w 6845644"/>
              <a:gd name="connsiteY5" fmla="*/ 3422822 h 6858000"/>
              <a:gd name="connsiteX6" fmla="*/ 3422822 w 6845644"/>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45644" h="6858000">
                <a:moveTo>
                  <a:pt x="3422822" y="0"/>
                </a:moveTo>
                <a:lnTo>
                  <a:pt x="6845644" y="0"/>
                </a:lnTo>
                <a:lnTo>
                  <a:pt x="6845644" y="3435178"/>
                </a:lnTo>
                <a:cubicBezTo>
                  <a:pt x="6845644" y="5325550"/>
                  <a:pt x="5313194" y="6858000"/>
                  <a:pt x="3422822" y="6858000"/>
                </a:cubicBezTo>
                <a:lnTo>
                  <a:pt x="1" y="6858000"/>
                </a:lnTo>
                <a:lnTo>
                  <a:pt x="0" y="3422822"/>
                </a:lnTo>
                <a:cubicBezTo>
                  <a:pt x="0" y="1532450"/>
                  <a:pt x="1532450" y="0"/>
                  <a:pt x="3422822" y="0"/>
                </a:cubicBezTo>
                <a:close/>
              </a:path>
            </a:pathLst>
          </a:custGeom>
          <a:blipFill>
            <a:blip r:embed="rId2"/>
            <a:stretch>
              <a:fillRect/>
            </a:stretch>
          </a:blipFill>
          <a:effectLst>
            <a:outerShdw blurRad="38100" dist="25400" dir="13500000" algn="br" rotWithShape="0">
              <a:prstClr val="black">
                <a:alpha val="15000"/>
              </a:prstClr>
            </a:outerShdw>
          </a:effectLst>
        </p:spPr>
        <p:txBody>
          <a:bodyPr wrap="square">
            <a:noAutofit/>
          </a:bodyPr>
          <a:lstStyle>
            <a:lvl1pPr marL="0" indent="0">
              <a:buNone/>
              <a:defRPr sz="1400"/>
            </a:lvl1pPr>
          </a:lstStyle>
          <a:p>
            <a:endParaRPr lang="en-US"/>
          </a:p>
        </p:txBody>
      </p:sp>
      <p:sp>
        <p:nvSpPr>
          <p:cNvPr id="3" name="Date Placeholder 2">
            <a:extLst>
              <a:ext uri="{FF2B5EF4-FFF2-40B4-BE49-F238E27FC236}">
                <a16:creationId xmlns:a16="http://schemas.microsoft.com/office/drawing/2014/main" id="{419BA925-6ADC-894A-86F3-24EF19F8F560}"/>
              </a:ext>
            </a:extLst>
          </p:cNvPr>
          <p:cNvSpPr>
            <a:spLocks noGrp="1"/>
          </p:cNvSpPr>
          <p:nvPr>
            <p:ph type="dt" sz="half" idx="10"/>
          </p:nvPr>
        </p:nvSpPr>
        <p:spPr/>
        <p:txBody>
          <a:bodyPr/>
          <a:lstStyle/>
          <a:p>
            <a:fld id="{6A0C4EFF-7BB9-A045-B777-5D40845EB54B}" type="datetimeFigureOut">
              <a:rPr lang="en-US" smtClean="0"/>
              <a:t>4/15/2020</a:t>
            </a:fld>
            <a:endParaRPr lang="en-US" dirty="0"/>
          </a:p>
        </p:txBody>
      </p:sp>
      <p:sp>
        <p:nvSpPr>
          <p:cNvPr id="4" name="Footer Placeholder 3">
            <a:extLst>
              <a:ext uri="{FF2B5EF4-FFF2-40B4-BE49-F238E27FC236}">
                <a16:creationId xmlns:a16="http://schemas.microsoft.com/office/drawing/2014/main" id="{5AC05611-CF29-3E47-8FEF-67CF95DE7A8E}"/>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CE7335AE-99DE-214D-A70E-CA9EC5AAC7FD}"/>
              </a:ext>
            </a:extLst>
          </p:cNvPr>
          <p:cNvSpPr>
            <a:spLocks noGrp="1"/>
          </p:cNvSpPr>
          <p:nvPr>
            <p:ph type="sldNum" sz="quarter" idx="12"/>
          </p:nvPr>
        </p:nvSpPr>
        <p:spPr/>
        <p:txBody>
          <a:bodyPr/>
          <a:lstStyle/>
          <a:p>
            <a:fld id="{3BA69586-E6B3-B646-96E5-E7A8350A3CCE}" type="slidenum">
              <a:rPr lang="en-US" smtClean="0"/>
              <a:pPr/>
              <a:t>‹#›</a:t>
            </a:fld>
            <a:endParaRPr lang="en-US" dirty="0"/>
          </a:p>
        </p:txBody>
      </p:sp>
    </p:spTree>
    <p:extLst>
      <p:ext uri="{BB962C8B-B14F-4D97-AF65-F5344CB8AC3E}">
        <p14:creationId xmlns:p14="http://schemas.microsoft.com/office/powerpoint/2010/main" val="11881508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8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684D0811-CF29-F449-8DDF-7228187C443B}"/>
              </a:ext>
            </a:extLst>
          </p:cNvPr>
          <p:cNvSpPr>
            <a:spLocks noGrp="1"/>
          </p:cNvSpPr>
          <p:nvPr>
            <p:ph type="pic" sz="quarter" idx="13"/>
          </p:nvPr>
        </p:nvSpPr>
        <p:spPr>
          <a:xfrm>
            <a:off x="0" y="-3870"/>
            <a:ext cx="6858000" cy="6861870"/>
          </a:xfrm>
          <a:custGeom>
            <a:avLst/>
            <a:gdLst>
              <a:gd name="connsiteX0" fmla="*/ 0 w 6858000"/>
              <a:gd name="connsiteY0" fmla="*/ 0 h 6861870"/>
              <a:gd name="connsiteX1" fmla="*/ 3429000 w 6858000"/>
              <a:gd name="connsiteY1" fmla="*/ 0 h 6861870"/>
              <a:gd name="connsiteX2" fmla="*/ 6858000 w 6858000"/>
              <a:gd name="connsiteY2" fmla="*/ 3429000 h 6861870"/>
              <a:gd name="connsiteX3" fmla="*/ 6858000 w 6858000"/>
              <a:gd name="connsiteY3" fmla="*/ 6861870 h 6861870"/>
              <a:gd name="connsiteX4" fmla="*/ 3429000 w 6858000"/>
              <a:gd name="connsiteY4" fmla="*/ 6861870 h 6861870"/>
              <a:gd name="connsiteX5" fmla="*/ 0 w 6858000"/>
              <a:gd name="connsiteY5" fmla="*/ 3432870 h 6861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58000" h="6861870">
                <a:moveTo>
                  <a:pt x="0" y="0"/>
                </a:moveTo>
                <a:lnTo>
                  <a:pt x="3429000" y="0"/>
                </a:lnTo>
                <a:cubicBezTo>
                  <a:pt x="5322784" y="0"/>
                  <a:pt x="6858000" y="1535216"/>
                  <a:pt x="6858000" y="3429000"/>
                </a:cubicBezTo>
                <a:lnTo>
                  <a:pt x="6858000" y="6861870"/>
                </a:lnTo>
                <a:lnTo>
                  <a:pt x="3429000" y="6861870"/>
                </a:lnTo>
                <a:cubicBezTo>
                  <a:pt x="1535216" y="6861870"/>
                  <a:pt x="0" y="5326654"/>
                  <a:pt x="0" y="3432870"/>
                </a:cubicBezTo>
                <a:close/>
              </a:path>
            </a:pathLst>
          </a:custGeom>
          <a:blipFill>
            <a:blip r:embed="rId2"/>
            <a:stretch>
              <a:fillRect/>
            </a:stretch>
          </a:blipFill>
          <a:effectLst>
            <a:outerShdw blurRad="38100" dist="25400" dir="18900000" algn="bl" rotWithShape="0">
              <a:prstClr val="black">
                <a:alpha val="15000"/>
              </a:prstClr>
            </a:outerShdw>
          </a:effectLst>
        </p:spPr>
        <p:txBody>
          <a:bodyPr wrap="square">
            <a:noAutofit/>
          </a:bodyPr>
          <a:lstStyle>
            <a:lvl1pPr marL="0" indent="0">
              <a:buNone/>
              <a:defRPr sz="1400"/>
            </a:lvl1pPr>
          </a:lstStyle>
          <a:p>
            <a:endParaRPr lang="en-US"/>
          </a:p>
        </p:txBody>
      </p:sp>
      <p:sp>
        <p:nvSpPr>
          <p:cNvPr id="3" name="Date Placeholder 2">
            <a:extLst>
              <a:ext uri="{FF2B5EF4-FFF2-40B4-BE49-F238E27FC236}">
                <a16:creationId xmlns:a16="http://schemas.microsoft.com/office/drawing/2014/main" id="{E7F38792-54CA-1C48-9DE9-C36A61C732DA}"/>
              </a:ext>
            </a:extLst>
          </p:cNvPr>
          <p:cNvSpPr>
            <a:spLocks noGrp="1"/>
          </p:cNvSpPr>
          <p:nvPr>
            <p:ph type="dt" sz="half" idx="10"/>
          </p:nvPr>
        </p:nvSpPr>
        <p:spPr/>
        <p:txBody>
          <a:bodyPr/>
          <a:lstStyle/>
          <a:p>
            <a:fld id="{6A0C4EFF-7BB9-A045-B777-5D40845EB54B}" type="datetimeFigureOut">
              <a:rPr lang="en-US" smtClean="0"/>
              <a:t>4/15/2020</a:t>
            </a:fld>
            <a:endParaRPr lang="en-US" dirty="0"/>
          </a:p>
        </p:txBody>
      </p:sp>
      <p:sp>
        <p:nvSpPr>
          <p:cNvPr id="4" name="Footer Placeholder 3">
            <a:extLst>
              <a:ext uri="{FF2B5EF4-FFF2-40B4-BE49-F238E27FC236}">
                <a16:creationId xmlns:a16="http://schemas.microsoft.com/office/drawing/2014/main" id="{3B7D60C9-E00C-5D41-909C-589BC5B4215B}"/>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625A19F2-BA87-924A-BF72-EB1A658064E4}"/>
              </a:ext>
            </a:extLst>
          </p:cNvPr>
          <p:cNvSpPr>
            <a:spLocks noGrp="1"/>
          </p:cNvSpPr>
          <p:nvPr>
            <p:ph type="sldNum" sz="quarter" idx="12"/>
          </p:nvPr>
        </p:nvSpPr>
        <p:spPr/>
        <p:txBody>
          <a:bodyPr/>
          <a:lstStyle/>
          <a:p>
            <a:fld id="{3BA69586-E6B3-B646-96E5-E7A8350A3CCE}" type="slidenum">
              <a:rPr lang="en-US" smtClean="0"/>
              <a:pPr/>
              <a:t>‹#›</a:t>
            </a:fld>
            <a:endParaRPr lang="en-US" dirty="0"/>
          </a:p>
        </p:txBody>
      </p:sp>
    </p:spTree>
    <p:extLst>
      <p:ext uri="{BB962C8B-B14F-4D97-AF65-F5344CB8AC3E}">
        <p14:creationId xmlns:p14="http://schemas.microsoft.com/office/powerpoint/2010/main" val="41078326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7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33628219-72B5-7B40-8676-5BEDA2A82AEC}"/>
              </a:ext>
            </a:extLst>
          </p:cNvPr>
          <p:cNvSpPr>
            <a:spLocks noGrp="1"/>
          </p:cNvSpPr>
          <p:nvPr>
            <p:ph type="pic" sz="quarter" idx="13"/>
          </p:nvPr>
        </p:nvSpPr>
        <p:spPr>
          <a:xfrm>
            <a:off x="1" y="0"/>
            <a:ext cx="6845644" cy="6858000"/>
          </a:xfrm>
          <a:custGeom>
            <a:avLst/>
            <a:gdLst>
              <a:gd name="connsiteX0" fmla="*/ 3422822 w 6845644"/>
              <a:gd name="connsiteY0" fmla="*/ 0 h 6858000"/>
              <a:gd name="connsiteX1" fmla="*/ 6845643 w 6845644"/>
              <a:gd name="connsiteY1" fmla="*/ 0 h 6858000"/>
              <a:gd name="connsiteX2" fmla="*/ 6845644 w 6845644"/>
              <a:gd name="connsiteY2" fmla="*/ 3435178 h 6858000"/>
              <a:gd name="connsiteX3" fmla="*/ 3422822 w 6845644"/>
              <a:gd name="connsiteY3" fmla="*/ 6858000 h 6858000"/>
              <a:gd name="connsiteX4" fmla="*/ 0 w 6845644"/>
              <a:gd name="connsiteY4" fmla="*/ 6858000 h 6858000"/>
              <a:gd name="connsiteX5" fmla="*/ 0 w 6845644"/>
              <a:gd name="connsiteY5" fmla="*/ 3422822 h 6858000"/>
              <a:gd name="connsiteX6" fmla="*/ 3422822 w 6845644"/>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45644" h="6858000">
                <a:moveTo>
                  <a:pt x="3422822" y="0"/>
                </a:moveTo>
                <a:lnTo>
                  <a:pt x="6845643" y="0"/>
                </a:lnTo>
                <a:lnTo>
                  <a:pt x="6845644" y="3435178"/>
                </a:lnTo>
                <a:cubicBezTo>
                  <a:pt x="6845644" y="5325550"/>
                  <a:pt x="5313194" y="6858000"/>
                  <a:pt x="3422822" y="6858000"/>
                </a:cubicBezTo>
                <a:lnTo>
                  <a:pt x="0" y="6858000"/>
                </a:lnTo>
                <a:lnTo>
                  <a:pt x="0" y="3422822"/>
                </a:lnTo>
                <a:cubicBezTo>
                  <a:pt x="0" y="1532450"/>
                  <a:pt x="1532450" y="0"/>
                  <a:pt x="3422822" y="0"/>
                </a:cubicBezTo>
                <a:close/>
              </a:path>
            </a:pathLst>
          </a:custGeom>
          <a:blipFill>
            <a:blip r:embed="rId2"/>
            <a:stretch>
              <a:fillRect/>
            </a:stretch>
          </a:blipFill>
          <a:effectLst>
            <a:outerShdw blurRad="38100" dist="25400" dir="2700000" algn="tl" rotWithShape="0">
              <a:prstClr val="black">
                <a:alpha val="15000"/>
              </a:prstClr>
            </a:outerShdw>
          </a:effectLst>
        </p:spPr>
        <p:txBody>
          <a:bodyPr wrap="square">
            <a:noAutofit/>
          </a:bodyPr>
          <a:lstStyle>
            <a:lvl1pPr marL="0" indent="0">
              <a:buNone/>
              <a:defRPr sz="1400"/>
            </a:lvl1pPr>
          </a:lstStyle>
          <a:p>
            <a:endParaRPr lang="en-US"/>
          </a:p>
        </p:txBody>
      </p:sp>
      <p:sp>
        <p:nvSpPr>
          <p:cNvPr id="3" name="Date Placeholder 2">
            <a:extLst>
              <a:ext uri="{FF2B5EF4-FFF2-40B4-BE49-F238E27FC236}">
                <a16:creationId xmlns:a16="http://schemas.microsoft.com/office/drawing/2014/main" id="{CD593654-421F-EC46-8A55-3162065E660B}"/>
              </a:ext>
            </a:extLst>
          </p:cNvPr>
          <p:cNvSpPr>
            <a:spLocks noGrp="1"/>
          </p:cNvSpPr>
          <p:nvPr>
            <p:ph type="dt" sz="half" idx="10"/>
          </p:nvPr>
        </p:nvSpPr>
        <p:spPr/>
        <p:txBody>
          <a:bodyPr/>
          <a:lstStyle/>
          <a:p>
            <a:fld id="{6A0C4EFF-7BB9-A045-B777-5D40845EB54B}" type="datetimeFigureOut">
              <a:rPr lang="en-US" smtClean="0"/>
              <a:t>4/15/2020</a:t>
            </a:fld>
            <a:endParaRPr lang="en-US" dirty="0"/>
          </a:p>
        </p:txBody>
      </p:sp>
      <p:sp>
        <p:nvSpPr>
          <p:cNvPr id="4" name="Footer Placeholder 3">
            <a:extLst>
              <a:ext uri="{FF2B5EF4-FFF2-40B4-BE49-F238E27FC236}">
                <a16:creationId xmlns:a16="http://schemas.microsoft.com/office/drawing/2014/main" id="{C608AE85-73C5-9949-9C44-0497AFEF7DA8}"/>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14D70F00-6428-B64F-B67D-CC0DA0FEB4FD}"/>
              </a:ext>
            </a:extLst>
          </p:cNvPr>
          <p:cNvSpPr>
            <a:spLocks noGrp="1"/>
          </p:cNvSpPr>
          <p:nvPr>
            <p:ph type="sldNum" sz="quarter" idx="12"/>
          </p:nvPr>
        </p:nvSpPr>
        <p:spPr/>
        <p:txBody>
          <a:bodyPr/>
          <a:lstStyle/>
          <a:p>
            <a:fld id="{3BA69586-E6B3-B646-96E5-E7A8350A3CCE}" type="slidenum">
              <a:rPr lang="en-US" smtClean="0"/>
              <a:pPr/>
              <a:t>‹#›</a:t>
            </a:fld>
            <a:endParaRPr lang="en-US" dirty="0"/>
          </a:p>
        </p:txBody>
      </p:sp>
    </p:spTree>
    <p:extLst>
      <p:ext uri="{BB962C8B-B14F-4D97-AF65-F5344CB8AC3E}">
        <p14:creationId xmlns:p14="http://schemas.microsoft.com/office/powerpoint/2010/main" val="1523441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6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7A76B8D2-80BF-BF4B-8B7D-B4AE8D164B7D}"/>
              </a:ext>
            </a:extLst>
          </p:cNvPr>
          <p:cNvSpPr>
            <a:spLocks noGrp="1"/>
          </p:cNvSpPr>
          <p:nvPr>
            <p:ph type="pic" sz="quarter" idx="13"/>
          </p:nvPr>
        </p:nvSpPr>
        <p:spPr>
          <a:xfrm>
            <a:off x="5334000" y="0"/>
            <a:ext cx="6858000" cy="6861868"/>
          </a:xfrm>
          <a:custGeom>
            <a:avLst/>
            <a:gdLst>
              <a:gd name="connsiteX0" fmla="*/ 0 w 6858000"/>
              <a:gd name="connsiteY0" fmla="*/ 0 h 6861868"/>
              <a:gd name="connsiteX1" fmla="*/ 3429000 w 6858000"/>
              <a:gd name="connsiteY1" fmla="*/ 0 h 6861868"/>
              <a:gd name="connsiteX2" fmla="*/ 6858000 w 6858000"/>
              <a:gd name="connsiteY2" fmla="*/ 3429000 h 6861868"/>
              <a:gd name="connsiteX3" fmla="*/ 6858000 w 6858000"/>
              <a:gd name="connsiteY3" fmla="*/ 6861868 h 6861868"/>
              <a:gd name="connsiteX4" fmla="*/ 3429000 w 6858000"/>
              <a:gd name="connsiteY4" fmla="*/ 6861868 h 6861868"/>
              <a:gd name="connsiteX5" fmla="*/ 0 w 6858000"/>
              <a:gd name="connsiteY5" fmla="*/ 3432868 h 6861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58000" h="6861868">
                <a:moveTo>
                  <a:pt x="0" y="0"/>
                </a:moveTo>
                <a:lnTo>
                  <a:pt x="3429000" y="0"/>
                </a:lnTo>
                <a:cubicBezTo>
                  <a:pt x="5322784" y="0"/>
                  <a:pt x="6858000" y="1535216"/>
                  <a:pt x="6858000" y="3429000"/>
                </a:cubicBezTo>
                <a:lnTo>
                  <a:pt x="6858000" y="6861868"/>
                </a:lnTo>
                <a:lnTo>
                  <a:pt x="3429000" y="6861868"/>
                </a:lnTo>
                <a:cubicBezTo>
                  <a:pt x="1535216" y="6861868"/>
                  <a:pt x="0" y="5326652"/>
                  <a:pt x="0" y="3432868"/>
                </a:cubicBezTo>
                <a:close/>
              </a:path>
            </a:pathLst>
          </a:custGeom>
          <a:blipFill>
            <a:blip r:embed="rId2"/>
            <a:stretch>
              <a:fillRect/>
            </a:stretch>
          </a:blipFill>
          <a:effectLst>
            <a:outerShdw blurRad="38100" dist="25400" dir="8100000" algn="tr" rotWithShape="0">
              <a:prstClr val="black">
                <a:alpha val="15000"/>
              </a:prstClr>
            </a:outerShdw>
          </a:effectLst>
        </p:spPr>
        <p:txBody>
          <a:bodyPr wrap="square">
            <a:noAutofit/>
          </a:bodyPr>
          <a:lstStyle>
            <a:lvl1pPr marL="0" indent="0">
              <a:buNone/>
              <a:defRPr sz="1400"/>
            </a:lvl1pPr>
          </a:lstStyle>
          <a:p>
            <a:endParaRPr lang="en-US"/>
          </a:p>
        </p:txBody>
      </p:sp>
      <p:sp>
        <p:nvSpPr>
          <p:cNvPr id="3" name="Date Placeholder 2">
            <a:extLst>
              <a:ext uri="{FF2B5EF4-FFF2-40B4-BE49-F238E27FC236}">
                <a16:creationId xmlns:a16="http://schemas.microsoft.com/office/drawing/2014/main" id="{0BEAEDF4-3087-8141-990A-196C98D27969}"/>
              </a:ext>
            </a:extLst>
          </p:cNvPr>
          <p:cNvSpPr>
            <a:spLocks noGrp="1"/>
          </p:cNvSpPr>
          <p:nvPr>
            <p:ph type="dt" sz="half" idx="10"/>
          </p:nvPr>
        </p:nvSpPr>
        <p:spPr/>
        <p:txBody>
          <a:bodyPr/>
          <a:lstStyle/>
          <a:p>
            <a:fld id="{6A0C4EFF-7BB9-A045-B777-5D40845EB54B}" type="datetimeFigureOut">
              <a:rPr lang="en-US" smtClean="0"/>
              <a:t>4/15/2020</a:t>
            </a:fld>
            <a:endParaRPr lang="en-US" dirty="0"/>
          </a:p>
        </p:txBody>
      </p:sp>
      <p:sp>
        <p:nvSpPr>
          <p:cNvPr id="4" name="Footer Placeholder 3">
            <a:extLst>
              <a:ext uri="{FF2B5EF4-FFF2-40B4-BE49-F238E27FC236}">
                <a16:creationId xmlns:a16="http://schemas.microsoft.com/office/drawing/2014/main" id="{F125BBA2-F428-6645-9BE4-7E09D8806A1D}"/>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7832AC4D-CA44-0C4D-AA1A-A0ECF2A86D40}"/>
              </a:ext>
            </a:extLst>
          </p:cNvPr>
          <p:cNvSpPr>
            <a:spLocks noGrp="1"/>
          </p:cNvSpPr>
          <p:nvPr>
            <p:ph type="sldNum" sz="quarter" idx="12"/>
          </p:nvPr>
        </p:nvSpPr>
        <p:spPr/>
        <p:txBody>
          <a:bodyPr/>
          <a:lstStyle/>
          <a:p>
            <a:fld id="{3BA69586-E6B3-B646-96E5-E7A8350A3CCE}" type="slidenum">
              <a:rPr lang="en-US" smtClean="0"/>
              <a:pPr/>
              <a:t>‹#›</a:t>
            </a:fld>
            <a:endParaRPr lang="en-US" dirty="0"/>
          </a:p>
        </p:txBody>
      </p:sp>
    </p:spTree>
    <p:extLst>
      <p:ext uri="{BB962C8B-B14F-4D97-AF65-F5344CB8AC3E}">
        <p14:creationId xmlns:p14="http://schemas.microsoft.com/office/powerpoint/2010/main" val="14760484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5_Custom Layou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C798C545-0368-B84E-80FF-4B0FC52B36D0}"/>
              </a:ext>
            </a:extLst>
          </p:cNvPr>
          <p:cNvSpPr>
            <a:spLocks noGrp="1"/>
          </p:cNvSpPr>
          <p:nvPr>
            <p:ph type="pic" sz="quarter" idx="13"/>
          </p:nvPr>
        </p:nvSpPr>
        <p:spPr>
          <a:xfrm>
            <a:off x="6246289" y="1313233"/>
            <a:ext cx="5945712" cy="5554494"/>
          </a:xfrm>
          <a:custGeom>
            <a:avLst/>
            <a:gdLst>
              <a:gd name="connsiteX0" fmla="*/ 4679305 w 5945712"/>
              <a:gd name="connsiteY0" fmla="*/ 3497704 h 5554494"/>
              <a:gd name="connsiteX1" fmla="*/ 5945710 w 5945712"/>
              <a:gd name="connsiteY1" fmla="*/ 4372594 h 5554494"/>
              <a:gd name="connsiteX2" fmla="*/ 5945710 w 5945712"/>
              <a:gd name="connsiteY2" fmla="*/ 5330339 h 5554494"/>
              <a:gd name="connsiteX3" fmla="*/ 5943532 w 5945712"/>
              <a:gd name="connsiteY3" fmla="*/ 5335377 h 5554494"/>
              <a:gd name="connsiteX4" fmla="*/ 5943532 w 5945712"/>
              <a:gd name="connsiteY4" fmla="*/ 5554494 h 5554494"/>
              <a:gd name="connsiteX5" fmla="*/ 5836236 w 5945712"/>
              <a:gd name="connsiteY5" fmla="*/ 5554494 h 5554494"/>
              <a:gd name="connsiteX6" fmla="*/ 5066978 w 5945712"/>
              <a:gd name="connsiteY6" fmla="*/ 5554494 h 5554494"/>
              <a:gd name="connsiteX7" fmla="*/ 3522375 w 5945712"/>
              <a:gd name="connsiteY7" fmla="*/ 5554494 h 5554494"/>
              <a:gd name="connsiteX8" fmla="*/ 3325763 w 5945712"/>
              <a:gd name="connsiteY8" fmla="*/ 4851466 h 5554494"/>
              <a:gd name="connsiteX9" fmla="*/ 4679305 w 5945712"/>
              <a:gd name="connsiteY9" fmla="*/ 3497704 h 5554494"/>
              <a:gd name="connsiteX10" fmla="*/ 4227642 w 5945712"/>
              <a:gd name="connsiteY10" fmla="*/ 1879579 h 5554494"/>
              <a:gd name="connsiteX11" fmla="*/ 5945711 w 5945712"/>
              <a:gd name="connsiteY11" fmla="*/ 2653374 h 5554494"/>
              <a:gd name="connsiteX12" fmla="*/ 5945711 w 5945712"/>
              <a:gd name="connsiteY12" fmla="*/ 2956489 h 5554494"/>
              <a:gd name="connsiteX13" fmla="*/ 5168731 w 5945712"/>
              <a:gd name="connsiteY13" fmla="*/ 2820822 h 5554494"/>
              <a:gd name="connsiteX14" fmla="*/ 2846505 w 5945712"/>
              <a:gd name="connsiteY14" fmla="*/ 5185550 h 5554494"/>
              <a:gd name="connsiteX15" fmla="*/ 2874680 w 5945712"/>
              <a:gd name="connsiteY15" fmla="*/ 5554494 h 5554494"/>
              <a:gd name="connsiteX16" fmla="*/ 2294196 w 5945712"/>
              <a:gd name="connsiteY16" fmla="*/ 5554494 h 5554494"/>
              <a:gd name="connsiteX17" fmla="*/ 1905415 w 5945712"/>
              <a:gd name="connsiteY17" fmla="*/ 4244307 h 5554494"/>
              <a:gd name="connsiteX18" fmla="*/ 4227642 w 5945712"/>
              <a:gd name="connsiteY18" fmla="*/ 1879579 h 5554494"/>
              <a:gd name="connsiteX19" fmla="*/ 3205224 w 5945712"/>
              <a:gd name="connsiteY19" fmla="*/ 0 h 5554494"/>
              <a:gd name="connsiteX20" fmla="*/ 5945712 w 5945712"/>
              <a:gd name="connsiteY20" fmla="*/ 1589887 h 5554494"/>
              <a:gd name="connsiteX21" fmla="*/ 5945712 w 5945712"/>
              <a:gd name="connsiteY21" fmla="*/ 1687236 h 5554494"/>
              <a:gd name="connsiteX22" fmla="*/ 4576194 w 5945712"/>
              <a:gd name="connsiteY22" fmla="*/ 1371193 h 5554494"/>
              <a:gd name="connsiteX23" fmla="*/ 1370970 w 5945712"/>
              <a:gd name="connsiteY23" fmla="*/ 4675710 h 5554494"/>
              <a:gd name="connsiteX24" fmla="*/ 1485557 w 5945712"/>
              <a:gd name="connsiteY24" fmla="*/ 5554494 h 5554494"/>
              <a:gd name="connsiteX25" fmla="*/ 857815 w 5945712"/>
              <a:gd name="connsiteY25" fmla="*/ 5554494 h 5554494"/>
              <a:gd name="connsiteX26" fmla="*/ 0 w 5945712"/>
              <a:gd name="connsiteY26" fmla="*/ 3304517 h 5554494"/>
              <a:gd name="connsiteX27" fmla="*/ 3205224 w 5945712"/>
              <a:gd name="connsiteY27" fmla="*/ 0 h 5554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45712" h="5554494">
                <a:moveTo>
                  <a:pt x="4679305" y="3497704"/>
                </a:moveTo>
                <a:cubicBezTo>
                  <a:pt x="5258250" y="3497704"/>
                  <a:pt x="5752322" y="3861273"/>
                  <a:pt x="5945710" y="4372594"/>
                </a:cubicBezTo>
                <a:lnTo>
                  <a:pt x="5945710" y="5330339"/>
                </a:lnTo>
                <a:lnTo>
                  <a:pt x="5943532" y="5335377"/>
                </a:lnTo>
                <a:lnTo>
                  <a:pt x="5943532" y="5554494"/>
                </a:lnTo>
                <a:lnTo>
                  <a:pt x="5836236" y="5554494"/>
                </a:lnTo>
                <a:lnTo>
                  <a:pt x="5066978" y="5554494"/>
                </a:lnTo>
                <a:lnTo>
                  <a:pt x="3522375" y="5554494"/>
                </a:lnTo>
                <a:cubicBezTo>
                  <a:pt x="3393405" y="5342712"/>
                  <a:pt x="3325370" y="5099440"/>
                  <a:pt x="3325763" y="4851466"/>
                </a:cubicBezTo>
                <a:cubicBezTo>
                  <a:pt x="3325763" y="4103817"/>
                  <a:pt x="3931778" y="3497704"/>
                  <a:pt x="4679305" y="3497704"/>
                </a:cubicBezTo>
                <a:close/>
                <a:moveTo>
                  <a:pt x="4227642" y="1879579"/>
                </a:moveTo>
                <a:cubicBezTo>
                  <a:pt x="4908538" y="1879579"/>
                  <a:pt x="5520943" y="2177988"/>
                  <a:pt x="5945711" y="2653374"/>
                </a:cubicBezTo>
                <a:lnTo>
                  <a:pt x="5945711" y="2956489"/>
                </a:lnTo>
                <a:cubicBezTo>
                  <a:pt x="5696559" y="2866485"/>
                  <a:pt x="5433636" y="2820577"/>
                  <a:pt x="5168731" y="2820822"/>
                </a:cubicBezTo>
                <a:cubicBezTo>
                  <a:pt x="3886352" y="2820822"/>
                  <a:pt x="2846505" y="3879546"/>
                  <a:pt x="2846505" y="5185550"/>
                </a:cubicBezTo>
                <a:cubicBezTo>
                  <a:pt x="2846483" y="5309070"/>
                  <a:pt x="2855902" y="5432411"/>
                  <a:pt x="2874680" y="5554494"/>
                </a:cubicBezTo>
                <a:lnTo>
                  <a:pt x="2294196" y="5554494"/>
                </a:lnTo>
                <a:cubicBezTo>
                  <a:pt x="2048583" y="5179450"/>
                  <a:pt x="1905415" y="4728902"/>
                  <a:pt x="1905415" y="4244307"/>
                </a:cubicBezTo>
                <a:cubicBezTo>
                  <a:pt x="1905415" y="2938303"/>
                  <a:pt x="2945261" y="1879579"/>
                  <a:pt x="4227642" y="1879579"/>
                </a:cubicBezTo>
                <a:close/>
                <a:moveTo>
                  <a:pt x="3205224" y="0"/>
                </a:moveTo>
                <a:cubicBezTo>
                  <a:pt x="4366424" y="0"/>
                  <a:pt x="5383411" y="636675"/>
                  <a:pt x="5945712" y="1589887"/>
                </a:cubicBezTo>
                <a:lnTo>
                  <a:pt x="5945712" y="1687236"/>
                </a:lnTo>
                <a:cubicBezTo>
                  <a:pt x="5519261" y="1478856"/>
                  <a:pt x="5050819" y="1370753"/>
                  <a:pt x="4576194" y="1371193"/>
                </a:cubicBezTo>
                <a:cubicBezTo>
                  <a:pt x="2805986" y="1371193"/>
                  <a:pt x="1370970" y="2850687"/>
                  <a:pt x="1370970" y="4675710"/>
                </a:cubicBezTo>
                <a:cubicBezTo>
                  <a:pt x="1370714" y="4972381"/>
                  <a:pt x="1409236" y="5267812"/>
                  <a:pt x="1485557" y="5554494"/>
                </a:cubicBezTo>
                <a:lnTo>
                  <a:pt x="857815" y="5554494"/>
                </a:lnTo>
                <a:cubicBezTo>
                  <a:pt x="325577" y="4964562"/>
                  <a:pt x="0" y="4173743"/>
                  <a:pt x="0" y="3304517"/>
                </a:cubicBezTo>
                <a:cubicBezTo>
                  <a:pt x="0" y="1479494"/>
                  <a:pt x="1435017" y="0"/>
                  <a:pt x="3205224" y="0"/>
                </a:cubicBezTo>
                <a:close/>
              </a:path>
            </a:pathLst>
          </a:custGeom>
          <a:blipFill>
            <a:blip r:embed="rId2"/>
            <a:stretch>
              <a:fillRect/>
            </a:stretch>
          </a:blipFill>
        </p:spPr>
        <p:txBody>
          <a:bodyPr wrap="square">
            <a:noAutofit/>
          </a:bodyPr>
          <a:lstStyle>
            <a:lvl1pPr marL="0" indent="0">
              <a:buNone/>
              <a:defRPr sz="1400"/>
            </a:lvl1pPr>
          </a:lstStyle>
          <a:p>
            <a:endParaRPr lang="en-US"/>
          </a:p>
        </p:txBody>
      </p:sp>
      <p:sp>
        <p:nvSpPr>
          <p:cNvPr id="3" name="Date Placeholder 2">
            <a:extLst>
              <a:ext uri="{FF2B5EF4-FFF2-40B4-BE49-F238E27FC236}">
                <a16:creationId xmlns:a16="http://schemas.microsoft.com/office/drawing/2014/main" id="{4D204499-C8D9-FF48-A3D7-B10A995E0E83}"/>
              </a:ext>
            </a:extLst>
          </p:cNvPr>
          <p:cNvSpPr>
            <a:spLocks noGrp="1"/>
          </p:cNvSpPr>
          <p:nvPr>
            <p:ph type="dt" sz="half" idx="10"/>
          </p:nvPr>
        </p:nvSpPr>
        <p:spPr/>
        <p:txBody>
          <a:bodyPr/>
          <a:lstStyle/>
          <a:p>
            <a:fld id="{6A0C4EFF-7BB9-A045-B777-5D40845EB54B}" type="datetimeFigureOut">
              <a:rPr lang="en-US" smtClean="0"/>
              <a:t>4/15/2020</a:t>
            </a:fld>
            <a:endParaRPr lang="en-US" dirty="0"/>
          </a:p>
        </p:txBody>
      </p:sp>
      <p:sp>
        <p:nvSpPr>
          <p:cNvPr id="4" name="Footer Placeholder 3">
            <a:extLst>
              <a:ext uri="{FF2B5EF4-FFF2-40B4-BE49-F238E27FC236}">
                <a16:creationId xmlns:a16="http://schemas.microsoft.com/office/drawing/2014/main" id="{770B21CE-605B-B84E-B8D5-B40294252835}"/>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7A3D9A41-D90E-224C-B23F-8B037B96C231}"/>
              </a:ext>
            </a:extLst>
          </p:cNvPr>
          <p:cNvSpPr>
            <a:spLocks noGrp="1"/>
          </p:cNvSpPr>
          <p:nvPr>
            <p:ph type="sldNum" sz="quarter" idx="12"/>
          </p:nvPr>
        </p:nvSpPr>
        <p:spPr/>
        <p:txBody>
          <a:bodyPr/>
          <a:lstStyle/>
          <a:p>
            <a:fld id="{3BA69586-E6B3-B646-96E5-E7A8350A3CCE}" type="slidenum">
              <a:rPr lang="en-US" smtClean="0"/>
              <a:pPr/>
              <a:t>‹#›</a:t>
            </a:fld>
            <a:endParaRPr lang="en-US" dirty="0"/>
          </a:p>
        </p:txBody>
      </p:sp>
    </p:spTree>
    <p:extLst>
      <p:ext uri="{BB962C8B-B14F-4D97-AF65-F5344CB8AC3E}">
        <p14:creationId xmlns:p14="http://schemas.microsoft.com/office/powerpoint/2010/main" val="25520670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837AF38-8476-564C-9FD7-B237493A597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76B97BA-9B38-DF4E-9F2E-D71BB9330CC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AD6230-D79B-2E4A-A40B-4BB14E6E211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A0C4EFF-7BB9-A045-B777-5D40845EB54B}" type="datetimeFigureOut">
              <a:rPr lang="en-US" smtClean="0"/>
              <a:t>4/15/2020</a:t>
            </a:fld>
            <a:endParaRPr lang="en-US" dirty="0"/>
          </a:p>
        </p:txBody>
      </p:sp>
      <p:sp>
        <p:nvSpPr>
          <p:cNvPr id="5" name="Footer Placeholder 4">
            <a:extLst>
              <a:ext uri="{FF2B5EF4-FFF2-40B4-BE49-F238E27FC236}">
                <a16:creationId xmlns:a16="http://schemas.microsoft.com/office/drawing/2014/main" id="{73E19C96-A6AB-DA47-8C89-B5D3DBFF53B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F011A40B-C4AA-764F-9E2F-5AF1D481B2C3}"/>
              </a:ext>
            </a:extLst>
          </p:cNvPr>
          <p:cNvSpPr>
            <a:spLocks noGrp="1"/>
          </p:cNvSpPr>
          <p:nvPr>
            <p:ph type="sldNum" sz="quarter" idx="4"/>
          </p:nvPr>
        </p:nvSpPr>
        <p:spPr>
          <a:xfrm>
            <a:off x="6503972" y="6476563"/>
            <a:ext cx="486861" cy="365125"/>
          </a:xfrm>
          <a:prstGeom prst="rect">
            <a:avLst/>
          </a:prstGeom>
        </p:spPr>
        <p:txBody>
          <a:bodyPr vert="horz" lIns="91440" tIns="45720" rIns="91440" bIns="45720" rtlCol="0" anchor="ctr"/>
          <a:lstStyle>
            <a:lvl1pPr algn="ctr">
              <a:defRPr sz="1000">
                <a:solidFill>
                  <a:schemeClr val="bg1"/>
                </a:solidFill>
              </a:defRPr>
            </a:lvl1pPr>
          </a:lstStyle>
          <a:p>
            <a:fld id="{3BA69586-E6B3-B646-96E5-E7A8350A3CCE}" type="slidenum">
              <a:rPr lang="en-US" smtClean="0"/>
              <a:pPr/>
              <a:t>‹#›</a:t>
            </a:fld>
            <a:endParaRPr lang="en-US" dirty="0"/>
          </a:p>
        </p:txBody>
      </p:sp>
    </p:spTree>
    <p:extLst>
      <p:ext uri="{BB962C8B-B14F-4D97-AF65-F5344CB8AC3E}">
        <p14:creationId xmlns:p14="http://schemas.microsoft.com/office/powerpoint/2010/main" val="2920598562"/>
      </p:ext>
    </p:extLst>
  </p:cSld>
  <p:clrMap bg1="lt1" tx1="dk1" bg2="lt2" tx2="dk2" accent1="accent1" accent2="accent2" accent3="accent3" accent4="accent4" accent5="accent5" accent6="accent6" hlink="hlink" folHlink="folHlink"/>
  <p:sldLayoutIdLst>
    <p:sldLayoutId id="2147483655" r:id="rId1"/>
    <p:sldLayoutId id="2147483688" r:id="rId2"/>
    <p:sldLayoutId id="2147483689" r:id="rId3"/>
    <p:sldLayoutId id="2147483686" r:id="rId4"/>
    <p:sldLayoutId id="2147483685" r:id="rId5"/>
    <p:sldLayoutId id="2147483684" r:id="rId6"/>
    <p:sldLayoutId id="2147483683" r:id="rId7"/>
    <p:sldLayoutId id="2147483682" r:id="rId8"/>
    <p:sldLayoutId id="2147483681" r:id="rId9"/>
    <p:sldLayoutId id="2147483680" r:id="rId10"/>
    <p:sldLayoutId id="2147483679" r:id="rId11"/>
    <p:sldLayoutId id="2147483678" r:id="rId12"/>
    <p:sldLayoutId id="2147483677" r:id="rId13"/>
    <p:sldLayoutId id="2147483676" r:id="rId14"/>
    <p:sldLayoutId id="2147483675" r:id="rId15"/>
    <p:sldLayoutId id="2147483674" r:id="rId16"/>
    <p:sldLayoutId id="2147483671" r:id="rId17"/>
    <p:sldLayoutId id="2147483670" r:id="rId18"/>
    <p:sldLayoutId id="2147483669" r:id="rId19"/>
    <p:sldLayoutId id="2147483668" r:id="rId20"/>
    <p:sldLayoutId id="2147483666" r:id="rId21"/>
    <p:sldLayoutId id="2147483665" r:id="rId22"/>
    <p:sldLayoutId id="2147483664" r:id="rId23"/>
    <p:sldLayoutId id="2147483662" r:id="rId24"/>
    <p:sldLayoutId id="2147483661" r:id="rId25"/>
    <p:sldLayoutId id="2147483660" r:id="rId26"/>
    <p:sldLayoutId id="2147483659" r:id="rId27"/>
    <p:sldLayoutId id="2147483658" r:id="rId28"/>
    <p:sldLayoutId id="2147483656" r:id="rId29"/>
    <p:sldLayoutId id="2147483663" r:id="rId30"/>
    <p:sldLayoutId id="2147483667" r:id="rId3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4.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3.svg"/><Relationship Id="rId2" Type="http://schemas.openxmlformats.org/officeDocument/2006/relationships/tags" Target="../tags/tag2.xml"/><Relationship Id="rId16" Type="http://schemas.openxmlformats.org/officeDocument/2006/relationships/image" Target="../media/image7.sv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2.png"/><Relationship Id="rId5" Type="http://schemas.openxmlformats.org/officeDocument/2006/relationships/tags" Target="../tags/tag5.xml"/><Relationship Id="rId15" Type="http://schemas.openxmlformats.org/officeDocument/2006/relationships/image" Target="../media/image6.png"/><Relationship Id="rId10" Type="http://schemas.openxmlformats.org/officeDocument/2006/relationships/slideLayout" Target="../slideLayouts/slideLayout1.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5.svg"/></Relationships>
</file>

<file path=ppt/slides/_rels/slide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30.xml"/><Relationship Id="rId1" Type="http://schemas.openxmlformats.org/officeDocument/2006/relationships/tags" Target="../tags/tag10.xml"/><Relationship Id="rId5" Type="http://schemas.openxmlformats.org/officeDocument/2006/relationships/image" Target="../media/image11.png"/><Relationship Id="rId4" Type="http://schemas.openxmlformats.org/officeDocument/2006/relationships/image" Target="../media/image10.svg"/></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www.kaggle.com/datasets" TargetMode="External"/><Relationship Id="rId1" Type="http://schemas.openxmlformats.org/officeDocument/2006/relationships/slideLayout" Target="../slideLayouts/slideLayout28.xml"/><Relationship Id="rId6" Type="http://schemas.openxmlformats.org/officeDocument/2006/relationships/image" Target="../media/image15.jpg"/><Relationship Id="rId5" Type="http://schemas.openxmlformats.org/officeDocument/2006/relationships/image" Target="../media/image14.png"/><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8DED13-03CE-8F43-8EC0-D03E7602A598}"/>
              </a:ext>
            </a:extLst>
          </p:cNvPr>
          <p:cNvSpPr txBox="1"/>
          <p:nvPr/>
        </p:nvSpPr>
        <p:spPr>
          <a:xfrm>
            <a:off x="6080741" y="2790584"/>
            <a:ext cx="5841999" cy="769441"/>
          </a:xfrm>
          <a:prstGeom prst="rect">
            <a:avLst/>
          </a:prstGeom>
          <a:noFill/>
        </p:spPr>
        <p:txBody>
          <a:bodyPr wrap="square" rtlCol="0">
            <a:spAutoFit/>
          </a:bodyPr>
          <a:lstStyle/>
          <a:p>
            <a:r>
              <a:rPr lang="en-US" sz="4400" b="1" dirty="0">
                <a:gradFill>
                  <a:gsLst>
                    <a:gs pos="0">
                      <a:schemeClr val="accent1"/>
                    </a:gs>
                    <a:gs pos="100000">
                      <a:schemeClr val="accent3"/>
                    </a:gs>
                  </a:gsLst>
                  <a:lin ang="0" scaled="1"/>
                </a:gradFill>
                <a:latin typeface="Calibri" panose="020F0502020204030204" pitchFamily="34" charset="0"/>
                <a:cs typeface="Calibri" panose="020F0502020204030204" pitchFamily="34" charset="0"/>
              </a:rPr>
              <a:t>Predictive Maintenance</a:t>
            </a:r>
            <a:endParaRPr lang="en-US" sz="4400" dirty="0">
              <a:solidFill>
                <a:schemeClr val="tx2"/>
              </a:solidFill>
              <a:latin typeface="+mj-lt"/>
            </a:endParaRPr>
          </a:p>
        </p:txBody>
      </p:sp>
      <p:grpSp>
        <p:nvGrpSpPr>
          <p:cNvPr id="13" name="Group 12">
            <a:extLst>
              <a:ext uri="{FF2B5EF4-FFF2-40B4-BE49-F238E27FC236}">
                <a16:creationId xmlns:a16="http://schemas.microsoft.com/office/drawing/2014/main" id="{761409F5-5620-2340-8017-94C96E5E8240}"/>
              </a:ext>
            </a:extLst>
          </p:cNvPr>
          <p:cNvGrpSpPr/>
          <p:nvPr/>
        </p:nvGrpSpPr>
        <p:grpSpPr>
          <a:xfrm>
            <a:off x="5574556" y="2947485"/>
            <a:ext cx="506185" cy="491297"/>
            <a:chOff x="9650186" y="669471"/>
            <a:chExt cx="1110342" cy="1077685"/>
          </a:xfrm>
        </p:grpSpPr>
        <p:sp>
          <p:nvSpPr>
            <p:cNvPr id="4" name="Rounded Rectangle 3">
              <a:extLst>
                <a:ext uri="{FF2B5EF4-FFF2-40B4-BE49-F238E27FC236}">
                  <a16:creationId xmlns:a16="http://schemas.microsoft.com/office/drawing/2014/main" id="{AC1B684A-AC31-E74F-8273-EC58CC892327}"/>
                </a:ext>
              </a:extLst>
            </p:cNvPr>
            <p:cNvSpPr/>
            <p:nvPr/>
          </p:nvSpPr>
          <p:spPr>
            <a:xfrm>
              <a:off x="9650186" y="669471"/>
              <a:ext cx="293914" cy="29391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ounded Rectangle 4">
              <a:extLst>
                <a:ext uri="{FF2B5EF4-FFF2-40B4-BE49-F238E27FC236}">
                  <a16:creationId xmlns:a16="http://schemas.microsoft.com/office/drawing/2014/main" id="{8FC107DE-A69C-6749-98FC-0139B7DE03BC}"/>
                </a:ext>
              </a:extLst>
            </p:cNvPr>
            <p:cNvSpPr/>
            <p:nvPr/>
          </p:nvSpPr>
          <p:spPr>
            <a:xfrm>
              <a:off x="10058400" y="669471"/>
              <a:ext cx="293914" cy="293914"/>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ed Rectangle 5">
              <a:extLst>
                <a:ext uri="{FF2B5EF4-FFF2-40B4-BE49-F238E27FC236}">
                  <a16:creationId xmlns:a16="http://schemas.microsoft.com/office/drawing/2014/main" id="{DDE9F162-45EC-BA40-9DED-3622317BB9A2}"/>
                </a:ext>
              </a:extLst>
            </p:cNvPr>
            <p:cNvSpPr/>
            <p:nvPr/>
          </p:nvSpPr>
          <p:spPr>
            <a:xfrm>
              <a:off x="10466614" y="669471"/>
              <a:ext cx="293914" cy="29391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ounded Rectangle 6">
              <a:extLst>
                <a:ext uri="{FF2B5EF4-FFF2-40B4-BE49-F238E27FC236}">
                  <a16:creationId xmlns:a16="http://schemas.microsoft.com/office/drawing/2014/main" id="{4B777F26-A844-A746-BA1B-2CBC7AB262F8}"/>
                </a:ext>
              </a:extLst>
            </p:cNvPr>
            <p:cNvSpPr/>
            <p:nvPr/>
          </p:nvSpPr>
          <p:spPr>
            <a:xfrm>
              <a:off x="9650186" y="1061357"/>
              <a:ext cx="293914" cy="293914"/>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ounded Rectangle 7">
              <a:extLst>
                <a:ext uri="{FF2B5EF4-FFF2-40B4-BE49-F238E27FC236}">
                  <a16:creationId xmlns:a16="http://schemas.microsoft.com/office/drawing/2014/main" id="{61CE70B8-62B0-F94D-862B-0C083AB1D67B}"/>
                </a:ext>
              </a:extLst>
            </p:cNvPr>
            <p:cNvSpPr/>
            <p:nvPr/>
          </p:nvSpPr>
          <p:spPr>
            <a:xfrm>
              <a:off x="10058400" y="1061357"/>
              <a:ext cx="293914" cy="29391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8">
              <a:extLst>
                <a:ext uri="{FF2B5EF4-FFF2-40B4-BE49-F238E27FC236}">
                  <a16:creationId xmlns:a16="http://schemas.microsoft.com/office/drawing/2014/main" id="{41968F8F-6C66-E244-A5FD-DCE4AD191A22}"/>
                </a:ext>
              </a:extLst>
            </p:cNvPr>
            <p:cNvSpPr/>
            <p:nvPr/>
          </p:nvSpPr>
          <p:spPr>
            <a:xfrm>
              <a:off x="10466614" y="1061357"/>
              <a:ext cx="293914" cy="29391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ounded Rectangle 9">
              <a:extLst>
                <a:ext uri="{FF2B5EF4-FFF2-40B4-BE49-F238E27FC236}">
                  <a16:creationId xmlns:a16="http://schemas.microsoft.com/office/drawing/2014/main" id="{26F6238D-4826-5149-8D07-E284DCB8AB2D}"/>
                </a:ext>
              </a:extLst>
            </p:cNvPr>
            <p:cNvSpPr/>
            <p:nvPr/>
          </p:nvSpPr>
          <p:spPr>
            <a:xfrm>
              <a:off x="9650186" y="1453242"/>
              <a:ext cx="293914" cy="29391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ed Rectangle 10">
              <a:extLst>
                <a:ext uri="{FF2B5EF4-FFF2-40B4-BE49-F238E27FC236}">
                  <a16:creationId xmlns:a16="http://schemas.microsoft.com/office/drawing/2014/main" id="{320AC38D-37C8-E043-8EB9-CB00BF4E7306}"/>
                </a:ext>
              </a:extLst>
            </p:cNvPr>
            <p:cNvSpPr/>
            <p:nvPr/>
          </p:nvSpPr>
          <p:spPr>
            <a:xfrm>
              <a:off x="10058400" y="1453242"/>
              <a:ext cx="293914" cy="29391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ounded Rectangle 11">
              <a:extLst>
                <a:ext uri="{FF2B5EF4-FFF2-40B4-BE49-F238E27FC236}">
                  <a16:creationId xmlns:a16="http://schemas.microsoft.com/office/drawing/2014/main" id="{3710F5FC-7B74-334E-868C-A5B6C3074059}"/>
                </a:ext>
              </a:extLst>
            </p:cNvPr>
            <p:cNvSpPr/>
            <p:nvPr/>
          </p:nvSpPr>
          <p:spPr>
            <a:xfrm>
              <a:off x="10466614" y="1453242"/>
              <a:ext cx="293914" cy="293914"/>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5" name="Rounded Rectangle 14">
            <a:extLst>
              <a:ext uri="{FF2B5EF4-FFF2-40B4-BE49-F238E27FC236}">
                <a16:creationId xmlns:a16="http://schemas.microsoft.com/office/drawing/2014/main" id="{5D5BC4CA-5A72-C045-B03E-0D02EF816E09}"/>
              </a:ext>
            </a:extLst>
          </p:cNvPr>
          <p:cNvSpPr/>
          <p:nvPr/>
        </p:nvSpPr>
        <p:spPr>
          <a:xfrm>
            <a:off x="760013" y="1016825"/>
            <a:ext cx="1216232" cy="1216232"/>
          </a:xfrm>
          <a:prstGeom prst="roundRect">
            <a:avLst/>
          </a:prstGeom>
          <a:noFill/>
          <a:ln w="25400">
            <a:solidFill>
              <a:schemeClr val="accent3">
                <a:alpha val="11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ounded Rectangle 15">
            <a:extLst>
              <a:ext uri="{FF2B5EF4-FFF2-40B4-BE49-F238E27FC236}">
                <a16:creationId xmlns:a16="http://schemas.microsoft.com/office/drawing/2014/main" id="{D9BED1FB-8CFB-3D46-B17D-05582B369FD7}"/>
              </a:ext>
            </a:extLst>
          </p:cNvPr>
          <p:cNvSpPr/>
          <p:nvPr/>
        </p:nvSpPr>
        <p:spPr>
          <a:xfrm>
            <a:off x="2449225" y="1016825"/>
            <a:ext cx="1216232" cy="1216232"/>
          </a:xfrm>
          <a:prstGeom prst="roundRect">
            <a:avLst/>
          </a:prstGeom>
          <a:noFill/>
          <a:ln w="25400">
            <a:solidFill>
              <a:schemeClr val="accent3">
                <a:alpha val="11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ounded Rectangle 16">
            <a:extLst>
              <a:ext uri="{FF2B5EF4-FFF2-40B4-BE49-F238E27FC236}">
                <a16:creationId xmlns:a16="http://schemas.microsoft.com/office/drawing/2014/main" id="{0AFD2FEA-13CF-394D-A77D-4C88CA850F28}"/>
              </a:ext>
            </a:extLst>
          </p:cNvPr>
          <p:cNvSpPr/>
          <p:nvPr/>
        </p:nvSpPr>
        <p:spPr>
          <a:xfrm>
            <a:off x="4138437" y="1016825"/>
            <a:ext cx="1216232" cy="1216232"/>
          </a:xfrm>
          <a:prstGeom prst="roundRect">
            <a:avLst/>
          </a:prstGeom>
          <a:noFill/>
          <a:ln w="25400">
            <a:solidFill>
              <a:schemeClr val="accent3">
                <a:alpha val="11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ounded Rectangle 17">
            <a:extLst>
              <a:ext uri="{FF2B5EF4-FFF2-40B4-BE49-F238E27FC236}">
                <a16:creationId xmlns:a16="http://schemas.microsoft.com/office/drawing/2014/main" id="{56409165-45C8-6947-BB10-5A9BA99E263D}"/>
              </a:ext>
            </a:extLst>
          </p:cNvPr>
          <p:cNvSpPr/>
          <p:nvPr/>
        </p:nvSpPr>
        <p:spPr>
          <a:xfrm>
            <a:off x="760013" y="2638470"/>
            <a:ext cx="1216232" cy="1216232"/>
          </a:xfrm>
          <a:prstGeom prst="roundRect">
            <a:avLst/>
          </a:prstGeom>
          <a:noFill/>
          <a:ln w="25400">
            <a:solidFill>
              <a:schemeClr val="accent3">
                <a:alpha val="11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ounded Rectangle 18">
            <a:extLst>
              <a:ext uri="{FF2B5EF4-FFF2-40B4-BE49-F238E27FC236}">
                <a16:creationId xmlns:a16="http://schemas.microsoft.com/office/drawing/2014/main" id="{A4046F1A-8DF6-F74A-BE18-CF15ADDD1651}"/>
              </a:ext>
            </a:extLst>
          </p:cNvPr>
          <p:cNvSpPr/>
          <p:nvPr/>
        </p:nvSpPr>
        <p:spPr>
          <a:xfrm>
            <a:off x="2449225" y="2638470"/>
            <a:ext cx="1216232" cy="1216232"/>
          </a:xfrm>
          <a:prstGeom prst="roundRect">
            <a:avLst/>
          </a:prstGeom>
          <a:noFill/>
          <a:ln w="25400">
            <a:solidFill>
              <a:schemeClr val="accent3">
                <a:alpha val="11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ounded Rectangle 19">
            <a:extLst>
              <a:ext uri="{FF2B5EF4-FFF2-40B4-BE49-F238E27FC236}">
                <a16:creationId xmlns:a16="http://schemas.microsoft.com/office/drawing/2014/main" id="{83F4EFCB-DF4D-3E4C-A067-CA9F809CD62E}"/>
              </a:ext>
            </a:extLst>
          </p:cNvPr>
          <p:cNvSpPr/>
          <p:nvPr/>
        </p:nvSpPr>
        <p:spPr>
          <a:xfrm>
            <a:off x="4138437" y="2638470"/>
            <a:ext cx="1216232" cy="1216232"/>
          </a:xfrm>
          <a:prstGeom prst="roundRect">
            <a:avLst/>
          </a:prstGeom>
          <a:noFill/>
          <a:ln w="25400">
            <a:solidFill>
              <a:schemeClr val="accent3">
                <a:alpha val="11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ounded Rectangle 20">
            <a:extLst>
              <a:ext uri="{FF2B5EF4-FFF2-40B4-BE49-F238E27FC236}">
                <a16:creationId xmlns:a16="http://schemas.microsoft.com/office/drawing/2014/main" id="{4F02F29B-BC68-CF4A-BFD6-C00B953A2F82}"/>
              </a:ext>
            </a:extLst>
          </p:cNvPr>
          <p:cNvSpPr/>
          <p:nvPr/>
        </p:nvSpPr>
        <p:spPr>
          <a:xfrm>
            <a:off x="760013" y="4260111"/>
            <a:ext cx="1216232" cy="1216232"/>
          </a:xfrm>
          <a:prstGeom prst="roundRect">
            <a:avLst/>
          </a:prstGeom>
          <a:noFill/>
          <a:ln w="25400">
            <a:solidFill>
              <a:schemeClr val="accent3">
                <a:alpha val="11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ounded Rectangle 21">
            <a:extLst>
              <a:ext uri="{FF2B5EF4-FFF2-40B4-BE49-F238E27FC236}">
                <a16:creationId xmlns:a16="http://schemas.microsoft.com/office/drawing/2014/main" id="{E21C08EE-E97F-BD43-B66C-61F4990CB86E}"/>
              </a:ext>
            </a:extLst>
          </p:cNvPr>
          <p:cNvSpPr/>
          <p:nvPr/>
        </p:nvSpPr>
        <p:spPr>
          <a:xfrm>
            <a:off x="2449225" y="4260111"/>
            <a:ext cx="1216232" cy="1216232"/>
          </a:xfrm>
          <a:prstGeom prst="roundRect">
            <a:avLst/>
          </a:prstGeom>
          <a:noFill/>
          <a:ln w="25400">
            <a:solidFill>
              <a:schemeClr val="accent3">
                <a:alpha val="11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ounded Rectangle 22">
            <a:extLst>
              <a:ext uri="{FF2B5EF4-FFF2-40B4-BE49-F238E27FC236}">
                <a16:creationId xmlns:a16="http://schemas.microsoft.com/office/drawing/2014/main" id="{E6128934-88C5-9F4B-A15F-543166431E27}"/>
              </a:ext>
            </a:extLst>
          </p:cNvPr>
          <p:cNvSpPr/>
          <p:nvPr/>
        </p:nvSpPr>
        <p:spPr>
          <a:xfrm>
            <a:off x="4138437" y="4260111"/>
            <a:ext cx="1216232" cy="1216232"/>
          </a:xfrm>
          <a:prstGeom prst="roundRect">
            <a:avLst/>
          </a:prstGeom>
          <a:noFill/>
          <a:ln w="25400">
            <a:solidFill>
              <a:schemeClr val="accent3">
                <a:alpha val="11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ounded Rectangle 23">
            <a:extLst>
              <a:ext uri="{FF2B5EF4-FFF2-40B4-BE49-F238E27FC236}">
                <a16:creationId xmlns:a16="http://schemas.microsoft.com/office/drawing/2014/main" id="{E529AEA8-1F52-234E-86B9-90AEF543A13F}"/>
              </a:ext>
            </a:extLst>
          </p:cNvPr>
          <p:cNvSpPr/>
          <p:nvPr/>
        </p:nvSpPr>
        <p:spPr>
          <a:xfrm>
            <a:off x="5574556" y="3629459"/>
            <a:ext cx="6363443" cy="439975"/>
          </a:xfrm>
          <a:prstGeom prst="roundRect">
            <a:avLst>
              <a:gd name="adj" fmla="val 8485"/>
            </a:avLst>
          </a:prstGeom>
          <a:gradFill>
            <a:gsLst>
              <a:gs pos="0">
                <a:schemeClr val="accent1"/>
              </a:gs>
              <a:gs pos="100000">
                <a:schemeClr val="accent3"/>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a:solidFill>
                  <a:schemeClr val="bg2"/>
                </a:solidFill>
                <a:latin typeface="+mj-lt"/>
              </a:rPr>
              <a:t>An intelligent system to predict machine failure and action required </a:t>
            </a:r>
            <a:endParaRPr lang="en-US" sz="1600" dirty="0">
              <a:solidFill>
                <a:schemeClr val="bg2"/>
              </a:solidFill>
              <a:latin typeface="+mj-lt"/>
            </a:endParaRPr>
          </a:p>
        </p:txBody>
      </p:sp>
      <p:grpSp>
        <p:nvGrpSpPr>
          <p:cNvPr id="90" name="Line_chart3" descr="{&quot;Key&quot;:&quot;POWER_USER_SHAPE_ICON&quot;,&quot;Value&quot;:&quot;POWER_USER_SHAPE_ICON_STYLE_1&quot;}">
            <a:extLst>
              <a:ext uri="{FF2B5EF4-FFF2-40B4-BE49-F238E27FC236}">
                <a16:creationId xmlns:a16="http://schemas.microsoft.com/office/drawing/2014/main" id="{30C670A1-EABE-4D70-ADF4-8893EC6C915A}"/>
              </a:ext>
            </a:extLst>
          </p:cNvPr>
          <p:cNvGrpSpPr>
            <a:grpSpLocks noChangeAspect="1"/>
          </p:cNvGrpSpPr>
          <p:nvPr>
            <p:custDataLst>
              <p:tags r:id="rId1"/>
            </p:custDataLst>
          </p:nvPr>
        </p:nvGrpSpPr>
        <p:grpSpPr>
          <a:xfrm>
            <a:off x="2809045" y="2975124"/>
            <a:ext cx="496592" cy="542925"/>
            <a:chOff x="5708651" y="476251"/>
            <a:chExt cx="663575" cy="725488"/>
          </a:xfrm>
          <a:solidFill>
            <a:schemeClr val="accent3"/>
          </a:solidFill>
        </p:grpSpPr>
        <p:sp>
          <p:nvSpPr>
            <p:cNvPr id="91" name="Freeform 31">
              <a:extLst>
                <a:ext uri="{FF2B5EF4-FFF2-40B4-BE49-F238E27FC236}">
                  <a16:creationId xmlns:a16="http://schemas.microsoft.com/office/drawing/2014/main" id="{DAE5F5C6-1BA1-4AB3-940A-A66336056DE0}"/>
                </a:ext>
              </a:extLst>
            </p:cNvPr>
            <p:cNvSpPr>
              <a:spLocks/>
            </p:cNvSpPr>
            <p:nvPr/>
          </p:nvSpPr>
          <p:spPr bwMode="auto">
            <a:xfrm>
              <a:off x="6261101" y="476251"/>
              <a:ext cx="103188" cy="125413"/>
            </a:xfrm>
            <a:custGeom>
              <a:avLst/>
              <a:gdLst>
                <a:gd name="T0" fmla="*/ 0 w 137"/>
                <a:gd name="T1" fmla="*/ 78 h 165"/>
                <a:gd name="T2" fmla="*/ 137 w 137"/>
                <a:gd name="T3" fmla="*/ 0 h 165"/>
                <a:gd name="T4" fmla="*/ 129 w 137"/>
                <a:gd name="T5" fmla="*/ 165 h 165"/>
                <a:gd name="T6" fmla="*/ 0 w 137"/>
                <a:gd name="T7" fmla="*/ 78 h 165"/>
              </a:gdLst>
              <a:ahLst/>
              <a:cxnLst>
                <a:cxn ang="0">
                  <a:pos x="T0" y="T1"/>
                </a:cxn>
                <a:cxn ang="0">
                  <a:pos x="T2" y="T3"/>
                </a:cxn>
                <a:cxn ang="0">
                  <a:pos x="T4" y="T5"/>
                </a:cxn>
                <a:cxn ang="0">
                  <a:pos x="T6" y="T7"/>
                </a:cxn>
              </a:cxnLst>
              <a:rect l="0" t="0" r="r" b="b"/>
              <a:pathLst>
                <a:path w="137" h="165">
                  <a:moveTo>
                    <a:pt x="0" y="78"/>
                  </a:moveTo>
                  <a:lnTo>
                    <a:pt x="137" y="0"/>
                  </a:lnTo>
                  <a:lnTo>
                    <a:pt x="129" y="165"/>
                  </a:lnTo>
                  <a:lnTo>
                    <a:pt x="0" y="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sp>
          <p:nvSpPr>
            <p:cNvPr id="92" name="Rectangle 32">
              <a:extLst>
                <a:ext uri="{FF2B5EF4-FFF2-40B4-BE49-F238E27FC236}">
                  <a16:creationId xmlns:a16="http://schemas.microsoft.com/office/drawing/2014/main" id="{EDF9A8CC-6BC8-4B4B-B442-CB11B799D154}"/>
                </a:ext>
              </a:extLst>
            </p:cNvPr>
            <p:cNvSpPr>
              <a:spLocks noChangeArrowheads="1"/>
            </p:cNvSpPr>
            <p:nvPr/>
          </p:nvSpPr>
          <p:spPr bwMode="auto">
            <a:xfrm>
              <a:off x="5708651" y="1154114"/>
              <a:ext cx="660400" cy="476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sp>
          <p:nvSpPr>
            <p:cNvPr id="93" name="Freeform 33">
              <a:extLst>
                <a:ext uri="{FF2B5EF4-FFF2-40B4-BE49-F238E27FC236}">
                  <a16:creationId xmlns:a16="http://schemas.microsoft.com/office/drawing/2014/main" id="{D677A1E3-0B69-45F2-8AC1-110BD5D14BAE}"/>
                </a:ext>
              </a:extLst>
            </p:cNvPr>
            <p:cNvSpPr>
              <a:spLocks/>
            </p:cNvSpPr>
            <p:nvPr/>
          </p:nvSpPr>
          <p:spPr bwMode="auto">
            <a:xfrm>
              <a:off x="5881688" y="928689"/>
              <a:ext cx="133350" cy="188913"/>
            </a:xfrm>
            <a:custGeom>
              <a:avLst/>
              <a:gdLst>
                <a:gd name="T0" fmla="*/ 0 w 175"/>
                <a:gd name="T1" fmla="*/ 56 h 247"/>
                <a:gd name="T2" fmla="*/ 0 w 175"/>
                <a:gd name="T3" fmla="*/ 247 h 247"/>
                <a:gd name="T4" fmla="*/ 175 w 175"/>
                <a:gd name="T5" fmla="*/ 247 h 247"/>
                <a:gd name="T6" fmla="*/ 175 w 175"/>
                <a:gd name="T7" fmla="*/ 0 h 247"/>
                <a:gd name="T8" fmla="*/ 0 w 175"/>
                <a:gd name="T9" fmla="*/ 56 h 247"/>
              </a:gdLst>
              <a:ahLst/>
              <a:cxnLst>
                <a:cxn ang="0">
                  <a:pos x="T0" y="T1"/>
                </a:cxn>
                <a:cxn ang="0">
                  <a:pos x="T2" y="T3"/>
                </a:cxn>
                <a:cxn ang="0">
                  <a:pos x="T4" y="T5"/>
                </a:cxn>
                <a:cxn ang="0">
                  <a:pos x="T6" y="T7"/>
                </a:cxn>
                <a:cxn ang="0">
                  <a:pos x="T8" y="T9"/>
                </a:cxn>
              </a:cxnLst>
              <a:rect l="0" t="0" r="r" b="b"/>
              <a:pathLst>
                <a:path w="175" h="247">
                  <a:moveTo>
                    <a:pt x="0" y="56"/>
                  </a:moveTo>
                  <a:lnTo>
                    <a:pt x="0" y="247"/>
                  </a:lnTo>
                  <a:lnTo>
                    <a:pt x="175" y="247"/>
                  </a:lnTo>
                  <a:lnTo>
                    <a:pt x="175" y="0"/>
                  </a:lnTo>
                  <a:cubicBezTo>
                    <a:pt x="119" y="24"/>
                    <a:pt x="61" y="43"/>
                    <a:pt x="0" y="5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sp>
          <p:nvSpPr>
            <p:cNvPr id="94" name="Freeform 34">
              <a:extLst>
                <a:ext uri="{FF2B5EF4-FFF2-40B4-BE49-F238E27FC236}">
                  <a16:creationId xmlns:a16="http://schemas.microsoft.com/office/drawing/2014/main" id="{8F0F6EDE-8E8A-4EEC-B770-4A1609D8EFE5}"/>
                </a:ext>
              </a:extLst>
            </p:cNvPr>
            <p:cNvSpPr>
              <a:spLocks/>
            </p:cNvSpPr>
            <p:nvPr/>
          </p:nvSpPr>
          <p:spPr bwMode="auto">
            <a:xfrm>
              <a:off x="6061076" y="819151"/>
              <a:ext cx="131763" cy="298450"/>
            </a:xfrm>
            <a:custGeom>
              <a:avLst/>
              <a:gdLst>
                <a:gd name="T0" fmla="*/ 0 w 174"/>
                <a:gd name="T1" fmla="*/ 115 h 390"/>
                <a:gd name="T2" fmla="*/ 0 w 174"/>
                <a:gd name="T3" fmla="*/ 390 h 390"/>
                <a:gd name="T4" fmla="*/ 174 w 174"/>
                <a:gd name="T5" fmla="*/ 390 h 390"/>
                <a:gd name="T6" fmla="*/ 174 w 174"/>
                <a:gd name="T7" fmla="*/ 0 h 390"/>
                <a:gd name="T8" fmla="*/ 0 w 174"/>
                <a:gd name="T9" fmla="*/ 115 h 390"/>
              </a:gdLst>
              <a:ahLst/>
              <a:cxnLst>
                <a:cxn ang="0">
                  <a:pos x="T0" y="T1"/>
                </a:cxn>
                <a:cxn ang="0">
                  <a:pos x="T2" y="T3"/>
                </a:cxn>
                <a:cxn ang="0">
                  <a:pos x="T4" y="T5"/>
                </a:cxn>
                <a:cxn ang="0">
                  <a:pos x="T6" y="T7"/>
                </a:cxn>
                <a:cxn ang="0">
                  <a:pos x="T8" y="T9"/>
                </a:cxn>
              </a:cxnLst>
              <a:rect l="0" t="0" r="r" b="b"/>
              <a:pathLst>
                <a:path w="174" h="390">
                  <a:moveTo>
                    <a:pt x="0" y="115"/>
                  </a:moveTo>
                  <a:lnTo>
                    <a:pt x="0" y="390"/>
                  </a:lnTo>
                  <a:lnTo>
                    <a:pt x="174" y="390"/>
                  </a:lnTo>
                  <a:lnTo>
                    <a:pt x="174" y="0"/>
                  </a:lnTo>
                  <a:cubicBezTo>
                    <a:pt x="121" y="44"/>
                    <a:pt x="62" y="82"/>
                    <a:pt x="0" y="1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sp>
          <p:nvSpPr>
            <p:cNvPr id="95" name="Freeform 35">
              <a:extLst>
                <a:ext uri="{FF2B5EF4-FFF2-40B4-BE49-F238E27FC236}">
                  <a16:creationId xmlns:a16="http://schemas.microsoft.com/office/drawing/2014/main" id="{B13F00BC-CED1-4FF7-A2A2-75DB3CCADCD5}"/>
                </a:ext>
              </a:extLst>
            </p:cNvPr>
            <p:cNvSpPr>
              <a:spLocks/>
            </p:cNvSpPr>
            <p:nvPr/>
          </p:nvSpPr>
          <p:spPr bwMode="auto">
            <a:xfrm>
              <a:off x="6238876" y="606426"/>
              <a:ext cx="133350" cy="511175"/>
            </a:xfrm>
            <a:custGeom>
              <a:avLst/>
              <a:gdLst>
                <a:gd name="T0" fmla="*/ 0 w 175"/>
                <a:gd name="T1" fmla="*/ 226 h 669"/>
                <a:gd name="T2" fmla="*/ 0 w 175"/>
                <a:gd name="T3" fmla="*/ 669 h 669"/>
                <a:gd name="T4" fmla="*/ 175 w 175"/>
                <a:gd name="T5" fmla="*/ 669 h 669"/>
                <a:gd name="T6" fmla="*/ 175 w 175"/>
                <a:gd name="T7" fmla="*/ 0 h 669"/>
                <a:gd name="T8" fmla="*/ 0 w 175"/>
                <a:gd name="T9" fmla="*/ 226 h 669"/>
              </a:gdLst>
              <a:ahLst/>
              <a:cxnLst>
                <a:cxn ang="0">
                  <a:pos x="T0" y="T1"/>
                </a:cxn>
                <a:cxn ang="0">
                  <a:pos x="T2" y="T3"/>
                </a:cxn>
                <a:cxn ang="0">
                  <a:pos x="T4" y="T5"/>
                </a:cxn>
                <a:cxn ang="0">
                  <a:pos x="T6" y="T7"/>
                </a:cxn>
                <a:cxn ang="0">
                  <a:pos x="T8" y="T9"/>
                </a:cxn>
              </a:cxnLst>
              <a:rect l="0" t="0" r="r" b="b"/>
              <a:pathLst>
                <a:path w="175" h="669">
                  <a:moveTo>
                    <a:pt x="0" y="226"/>
                  </a:moveTo>
                  <a:lnTo>
                    <a:pt x="0" y="669"/>
                  </a:lnTo>
                  <a:lnTo>
                    <a:pt x="175" y="669"/>
                  </a:lnTo>
                  <a:lnTo>
                    <a:pt x="175" y="0"/>
                  </a:lnTo>
                  <a:cubicBezTo>
                    <a:pt x="128" y="83"/>
                    <a:pt x="69" y="159"/>
                    <a:pt x="0" y="22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sp>
          <p:nvSpPr>
            <p:cNvPr id="96" name="Freeform 36">
              <a:extLst>
                <a:ext uri="{FF2B5EF4-FFF2-40B4-BE49-F238E27FC236}">
                  <a16:creationId xmlns:a16="http://schemas.microsoft.com/office/drawing/2014/main" id="{E7EC989B-FA5B-4E7A-BD1A-D65E43B55D01}"/>
                </a:ext>
              </a:extLst>
            </p:cNvPr>
            <p:cNvSpPr>
              <a:spLocks/>
            </p:cNvSpPr>
            <p:nvPr/>
          </p:nvSpPr>
          <p:spPr bwMode="auto">
            <a:xfrm>
              <a:off x="5708651" y="979489"/>
              <a:ext cx="133350" cy="138113"/>
            </a:xfrm>
            <a:custGeom>
              <a:avLst/>
              <a:gdLst>
                <a:gd name="T0" fmla="*/ 12 w 175"/>
                <a:gd name="T1" fmla="*/ 14 h 181"/>
                <a:gd name="T2" fmla="*/ 0 w 175"/>
                <a:gd name="T3" fmla="*/ 14 h 181"/>
                <a:gd name="T4" fmla="*/ 0 w 175"/>
                <a:gd name="T5" fmla="*/ 181 h 181"/>
                <a:gd name="T6" fmla="*/ 175 w 175"/>
                <a:gd name="T7" fmla="*/ 181 h 181"/>
                <a:gd name="T8" fmla="*/ 175 w 175"/>
                <a:gd name="T9" fmla="*/ 0 h 181"/>
                <a:gd name="T10" fmla="*/ 12 w 175"/>
                <a:gd name="T11" fmla="*/ 14 h 181"/>
              </a:gdLst>
              <a:ahLst/>
              <a:cxnLst>
                <a:cxn ang="0">
                  <a:pos x="T0" y="T1"/>
                </a:cxn>
                <a:cxn ang="0">
                  <a:pos x="T2" y="T3"/>
                </a:cxn>
                <a:cxn ang="0">
                  <a:pos x="T4" y="T5"/>
                </a:cxn>
                <a:cxn ang="0">
                  <a:pos x="T6" y="T7"/>
                </a:cxn>
                <a:cxn ang="0">
                  <a:pos x="T8" y="T9"/>
                </a:cxn>
                <a:cxn ang="0">
                  <a:pos x="T10" y="T11"/>
                </a:cxn>
              </a:cxnLst>
              <a:rect l="0" t="0" r="r" b="b"/>
              <a:pathLst>
                <a:path w="175" h="181">
                  <a:moveTo>
                    <a:pt x="12" y="14"/>
                  </a:moveTo>
                  <a:cubicBezTo>
                    <a:pt x="8" y="14"/>
                    <a:pt x="4" y="14"/>
                    <a:pt x="0" y="14"/>
                  </a:cubicBezTo>
                  <a:lnTo>
                    <a:pt x="0" y="181"/>
                  </a:lnTo>
                  <a:lnTo>
                    <a:pt x="175" y="181"/>
                  </a:lnTo>
                  <a:lnTo>
                    <a:pt x="175" y="0"/>
                  </a:lnTo>
                  <a:cubicBezTo>
                    <a:pt x="122" y="9"/>
                    <a:pt x="67" y="14"/>
                    <a:pt x="12" y="1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sp>
          <p:nvSpPr>
            <p:cNvPr id="97" name="Freeform 37">
              <a:extLst>
                <a:ext uri="{FF2B5EF4-FFF2-40B4-BE49-F238E27FC236}">
                  <a16:creationId xmlns:a16="http://schemas.microsoft.com/office/drawing/2014/main" id="{2B0BDAF9-86B2-49E6-9717-11B47566CC1B}"/>
                </a:ext>
              </a:extLst>
            </p:cNvPr>
            <p:cNvSpPr>
              <a:spLocks/>
            </p:cNvSpPr>
            <p:nvPr/>
          </p:nvSpPr>
          <p:spPr bwMode="auto">
            <a:xfrm>
              <a:off x="5708651" y="544514"/>
              <a:ext cx="630238" cy="398463"/>
            </a:xfrm>
            <a:custGeom>
              <a:avLst/>
              <a:gdLst>
                <a:gd name="T0" fmla="*/ 0 w 827"/>
                <a:gd name="T1" fmla="*/ 460 h 523"/>
                <a:gd name="T2" fmla="*/ 0 w 827"/>
                <a:gd name="T3" fmla="*/ 523 h 523"/>
                <a:gd name="T4" fmla="*/ 354 w 827"/>
                <a:gd name="T5" fmla="*/ 444 h 523"/>
                <a:gd name="T6" fmla="*/ 678 w 827"/>
                <a:gd name="T7" fmla="*/ 226 h 523"/>
                <a:gd name="T8" fmla="*/ 827 w 827"/>
                <a:gd name="T9" fmla="*/ 36 h 523"/>
                <a:gd name="T10" fmla="*/ 775 w 827"/>
                <a:gd name="T11" fmla="*/ 0 h 523"/>
                <a:gd name="T12" fmla="*/ 0 w 827"/>
                <a:gd name="T13" fmla="*/ 460 h 523"/>
              </a:gdLst>
              <a:ahLst/>
              <a:cxnLst>
                <a:cxn ang="0">
                  <a:pos x="T0" y="T1"/>
                </a:cxn>
                <a:cxn ang="0">
                  <a:pos x="T2" y="T3"/>
                </a:cxn>
                <a:cxn ang="0">
                  <a:pos x="T4" y="T5"/>
                </a:cxn>
                <a:cxn ang="0">
                  <a:pos x="T6" y="T7"/>
                </a:cxn>
                <a:cxn ang="0">
                  <a:pos x="T8" y="T9"/>
                </a:cxn>
                <a:cxn ang="0">
                  <a:pos x="T10" y="T11"/>
                </a:cxn>
                <a:cxn ang="0">
                  <a:pos x="T12" y="T13"/>
                </a:cxn>
              </a:cxnLst>
              <a:rect l="0" t="0" r="r" b="b"/>
              <a:pathLst>
                <a:path w="827" h="523">
                  <a:moveTo>
                    <a:pt x="0" y="460"/>
                  </a:moveTo>
                  <a:lnTo>
                    <a:pt x="0" y="523"/>
                  </a:lnTo>
                  <a:cubicBezTo>
                    <a:pt x="122" y="518"/>
                    <a:pt x="241" y="492"/>
                    <a:pt x="354" y="444"/>
                  </a:cubicBezTo>
                  <a:cubicBezTo>
                    <a:pt x="475" y="393"/>
                    <a:pt x="584" y="319"/>
                    <a:pt x="678" y="226"/>
                  </a:cubicBezTo>
                  <a:cubicBezTo>
                    <a:pt x="735" y="168"/>
                    <a:pt x="785" y="104"/>
                    <a:pt x="827" y="36"/>
                  </a:cubicBezTo>
                  <a:lnTo>
                    <a:pt x="775" y="0"/>
                  </a:lnTo>
                  <a:cubicBezTo>
                    <a:pt x="614" y="265"/>
                    <a:pt x="328" y="446"/>
                    <a:pt x="0" y="46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grpSp>
      <p:grpSp>
        <p:nvGrpSpPr>
          <p:cNvPr id="98" name="Pie_chart" descr="{&quot;Key&quot;:&quot;POWER_USER_SHAPE_ICON&quot;,&quot;Value&quot;:&quot;POWER_USER_SHAPE_ICON_STYLE_1&quot;}">
            <a:extLst>
              <a:ext uri="{FF2B5EF4-FFF2-40B4-BE49-F238E27FC236}">
                <a16:creationId xmlns:a16="http://schemas.microsoft.com/office/drawing/2014/main" id="{57B7B641-3DB4-47FD-92D8-77750E7AE92B}"/>
              </a:ext>
            </a:extLst>
          </p:cNvPr>
          <p:cNvGrpSpPr>
            <a:grpSpLocks noChangeAspect="1"/>
          </p:cNvGrpSpPr>
          <p:nvPr>
            <p:custDataLst>
              <p:tags r:id="rId2"/>
            </p:custDataLst>
          </p:nvPr>
        </p:nvGrpSpPr>
        <p:grpSpPr bwMode="auto">
          <a:xfrm>
            <a:off x="4477582" y="2975124"/>
            <a:ext cx="537942" cy="542925"/>
            <a:chOff x="6097" y="214"/>
            <a:chExt cx="216" cy="218"/>
          </a:xfrm>
        </p:grpSpPr>
        <p:sp>
          <p:nvSpPr>
            <p:cNvPr id="99" name="Freeform 76">
              <a:extLst>
                <a:ext uri="{FF2B5EF4-FFF2-40B4-BE49-F238E27FC236}">
                  <a16:creationId xmlns:a16="http://schemas.microsoft.com/office/drawing/2014/main" id="{92DB5207-39A7-4617-8F69-903FDA7B92DE}"/>
                </a:ext>
              </a:extLst>
            </p:cNvPr>
            <p:cNvSpPr>
              <a:spLocks/>
            </p:cNvSpPr>
            <p:nvPr/>
          </p:nvSpPr>
          <p:spPr bwMode="auto">
            <a:xfrm>
              <a:off x="6097" y="215"/>
              <a:ext cx="216" cy="217"/>
            </a:xfrm>
            <a:custGeom>
              <a:avLst/>
              <a:gdLst>
                <a:gd name="T0" fmla="*/ 225 w 450"/>
                <a:gd name="T1" fmla="*/ 225 h 450"/>
                <a:gd name="T2" fmla="*/ 450 w 450"/>
                <a:gd name="T3" fmla="*/ 225 h 450"/>
                <a:gd name="T4" fmla="*/ 225 w 450"/>
                <a:gd name="T5" fmla="*/ 450 h 450"/>
                <a:gd name="T6" fmla="*/ 0 w 450"/>
                <a:gd name="T7" fmla="*/ 225 h 450"/>
                <a:gd name="T8" fmla="*/ 225 w 450"/>
                <a:gd name="T9" fmla="*/ 0 h 450"/>
                <a:gd name="T10" fmla="*/ 225 w 450"/>
                <a:gd name="T11" fmla="*/ 225 h 450"/>
              </a:gdLst>
              <a:ahLst/>
              <a:cxnLst>
                <a:cxn ang="0">
                  <a:pos x="T0" y="T1"/>
                </a:cxn>
                <a:cxn ang="0">
                  <a:pos x="T2" y="T3"/>
                </a:cxn>
                <a:cxn ang="0">
                  <a:pos x="T4" y="T5"/>
                </a:cxn>
                <a:cxn ang="0">
                  <a:pos x="T6" y="T7"/>
                </a:cxn>
                <a:cxn ang="0">
                  <a:pos x="T8" y="T9"/>
                </a:cxn>
                <a:cxn ang="0">
                  <a:pos x="T10" y="T11"/>
                </a:cxn>
              </a:cxnLst>
              <a:rect l="0" t="0" r="r" b="b"/>
              <a:pathLst>
                <a:path w="450" h="450">
                  <a:moveTo>
                    <a:pt x="225" y="225"/>
                  </a:moveTo>
                  <a:lnTo>
                    <a:pt x="450" y="225"/>
                  </a:lnTo>
                  <a:cubicBezTo>
                    <a:pt x="446" y="346"/>
                    <a:pt x="347" y="450"/>
                    <a:pt x="225" y="450"/>
                  </a:cubicBezTo>
                  <a:cubicBezTo>
                    <a:pt x="101" y="450"/>
                    <a:pt x="0" y="349"/>
                    <a:pt x="0" y="225"/>
                  </a:cubicBezTo>
                  <a:cubicBezTo>
                    <a:pt x="0" y="103"/>
                    <a:pt x="104" y="4"/>
                    <a:pt x="225" y="0"/>
                  </a:cubicBezTo>
                  <a:lnTo>
                    <a:pt x="225" y="225"/>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0" name="Freeform 77">
              <a:extLst>
                <a:ext uri="{FF2B5EF4-FFF2-40B4-BE49-F238E27FC236}">
                  <a16:creationId xmlns:a16="http://schemas.microsoft.com/office/drawing/2014/main" id="{179C8295-82F4-4FC3-81A0-EA069095040C}"/>
                </a:ext>
              </a:extLst>
            </p:cNvPr>
            <p:cNvSpPr>
              <a:spLocks/>
            </p:cNvSpPr>
            <p:nvPr/>
          </p:nvSpPr>
          <p:spPr bwMode="auto">
            <a:xfrm>
              <a:off x="6217" y="214"/>
              <a:ext cx="96" cy="97"/>
            </a:xfrm>
            <a:custGeom>
              <a:avLst/>
              <a:gdLst>
                <a:gd name="T0" fmla="*/ 0 w 200"/>
                <a:gd name="T1" fmla="*/ 0 h 200"/>
                <a:gd name="T2" fmla="*/ 200 w 200"/>
                <a:gd name="T3" fmla="*/ 200 h 200"/>
                <a:gd name="T4" fmla="*/ 0 w 200"/>
                <a:gd name="T5" fmla="*/ 200 h 200"/>
                <a:gd name="T6" fmla="*/ 0 w 200"/>
                <a:gd name="T7" fmla="*/ 0 h 200"/>
              </a:gdLst>
              <a:ahLst/>
              <a:cxnLst>
                <a:cxn ang="0">
                  <a:pos x="T0" y="T1"/>
                </a:cxn>
                <a:cxn ang="0">
                  <a:pos x="T2" y="T3"/>
                </a:cxn>
                <a:cxn ang="0">
                  <a:pos x="T4" y="T5"/>
                </a:cxn>
                <a:cxn ang="0">
                  <a:pos x="T6" y="T7"/>
                </a:cxn>
              </a:cxnLst>
              <a:rect l="0" t="0" r="r" b="b"/>
              <a:pathLst>
                <a:path w="200" h="200">
                  <a:moveTo>
                    <a:pt x="0" y="0"/>
                  </a:moveTo>
                  <a:cubicBezTo>
                    <a:pt x="106" y="10"/>
                    <a:pt x="190" y="94"/>
                    <a:pt x="200" y="200"/>
                  </a:cubicBezTo>
                  <a:lnTo>
                    <a:pt x="0" y="200"/>
                  </a:lnTo>
                  <a:lnTo>
                    <a:pt x="0"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109" name="Area_chart" descr="{&quot;Key&quot;:&quot;POWER_USER_SHAPE_ICON&quot;,&quot;Value&quot;:&quot;POWER_USER_SHAPE_ICON_STYLE_1&quot;}">
            <a:extLst>
              <a:ext uri="{FF2B5EF4-FFF2-40B4-BE49-F238E27FC236}">
                <a16:creationId xmlns:a16="http://schemas.microsoft.com/office/drawing/2014/main" id="{16615A8E-B4B6-43C1-984C-D5E1A5C9531D}"/>
              </a:ext>
            </a:extLst>
          </p:cNvPr>
          <p:cNvGrpSpPr>
            <a:grpSpLocks noChangeAspect="1"/>
          </p:cNvGrpSpPr>
          <p:nvPr>
            <p:custDataLst>
              <p:tags r:id="rId3"/>
            </p:custDataLst>
          </p:nvPr>
        </p:nvGrpSpPr>
        <p:grpSpPr>
          <a:xfrm>
            <a:off x="1076481" y="2975124"/>
            <a:ext cx="583297" cy="542925"/>
            <a:chOff x="8358188" y="3130551"/>
            <a:chExt cx="665163" cy="619125"/>
          </a:xfrm>
          <a:solidFill>
            <a:schemeClr val="accent1"/>
          </a:solidFill>
        </p:grpSpPr>
        <p:sp>
          <p:nvSpPr>
            <p:cNvPr id="110" name="Freeform 9">
              <a:extLst>
                <a:ext uri="{FF2B5EF4-FFF2-40B4-BE49-F238E27FC236}">
                  <a16:creationId xmlns:a16="http://schemas.microsoft.com/office/drawing/2014/main" id="{2F48B073-2094-4ECD-82F7-33F78ED02E1F}"/>
                </a:ext>
              </a:extLst>
            </p:cNvPr>
            <p:cNvSpPr>
              <a:spLocks/>
            </p:cNvSpPr>
            <p:nvPr/>
          </p:nvSpPr>
          <p:spPr bwMode="auto">
            <a:xfrm>
              <a:off x="8358188" y="3130551"/>
              <a:ext cx="665163" cy="619125"/>
            </a:xfrm>
            <a:custGeom>
              <a:avLst/>
              <a:gdLst>
                <a:gd name="T0" fmla="*/ 419 w 419"/>
                <a:gd name="T1" fmla="*/ 390 h 390"/>
                <a:gd name="T2" fmla="*/ 0 w 419"/>
                <a:gd name="T3" fmla="*/ 390 h 390"/>
                <a:gd name="T4" fmla="*/ 0 w 419"/>
                <a:gd name="T5" fmla="*/ 0 h 390"/>
                <a:gd name="T6" fmla="*/ 30 w 419"/>
                <a:gd name="T7" fmla="*/ 0 h 390"/>
                <a:gd name="T8" fmla="*/ 30 w 419"/>
                <a:gd name="T9" fmla="*/ 359 h 390"/>
                <a:gd name="T10" fmla="*/ 419 w 419"/>
                <a:gd name="T11" fmla="*/ 359 h 390"/>
                <a:gd name="T12" fmla="*/ 419 w 419"/>
                <a:gd name="T13" fmla="*/ 390 h 390"/>
              </a:gdLst>
              <a:ahLst/>
              <a:cxnLst>
                <a:cxn ang="0">
                  <a:pos x="T0" y="T1"/>
                </a:cxn>
                <a:cxn ang="0">
                  <a:pos x="T2" y="T3"/>
                </a:cxn>
                <a:cxn ang="0">
                  <a:pos x="T4" y="T5"/>
                </a:cxn>
                <a:cxn ang="0">
                  <a:pos x="T6" y="T7"/>
                </a:cxn>
                <a:cxn ang="0">
                  <a:pos x="T8" y="T9"/>
                </a:cxn>
                <a:cxn ang="0">
                  <a:pos x="T10" y="T11"/>
                </a:cxn>
                <a:cxn ang="0">
                  <a:pos x="T12" y="T13"/>
                </a:cxn>
              </a:cxnLst>
              <a:rect l="0" t="0" r="r" b="b"/>
              <a:pathLst>
                <a:path w="419" h="390">
                  <a:moveTo>
                    <a:pt x="419" y="390"/>
                  </a:moveTo>
                  <a:lnTo>
                    <a:pt x="0" y="390"/>
                  </a:lnTo>
                  <a:lnTo>
                    <a:pt x="0" y="0"/>
                  </a:lnTo>
                  <a:lnTo>
                    <a:pt x="30" y="0"/>
                  </a:lnTo>
                  <a:lnTo>
                    <a:pt x="30" y="359"/>
                  </a:lnTo>
                  <a:lnTo>
                    <a:pt x="419" y="359"/>
                  </a:lnTo>
                  <a:lnTo>
                    <a:pt x="419" y="39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sp>
          <p:nvSpPr>
            <p:cNvPr id="111" name="Freeform 105">
              <a:extLst>
                <a:ext uri="{FF2B5EF4-FFF2-40B4-BE49-F238E27FC236}">
                  <a16:creationId xmlns:a16="http://schemas.microsoft.com/office/drawing/2014/main" id="{48914E64-32D0-4383-8A71-00D38D814CE6}"/>
                </a:ext>
              </a:extLst>
            </p:cNvPr>
            <p:cNvSpPr>
              <a:spLocks/>
            </p:cNvSpPr>
            <p:nvPr/>
          </p:nvSpPr>
          <p:spPr bwMode="auto">
            <a:xfrm>
              <a:off x="8443913" y="3225801"/>
              <a:ext cx="579438" cy="327025"/>
            </a:xfrm>
            <a:custGeom>
              <a:avLst/>
              <a:gdLst>
                <a:gd name="T0" fmla="*/ 120 w 365"/>
                <a:gd name="T1" fmla="*/ 156 h 206"/>
                <a:gd name="T2" fmla="*/ 177 w 365"/>
                <a:gd name="T3" fmla="*/ 114 h 206"/>
                <a:gd name="T4" fmla="*/ 249 w 365"/>
                <a:gd name="T5" fmla="*/ 206 h 206"/>
                <a:gd name="T6" fmla="*/ 365 w 365"/>
                <a:gd name="T7" fmla="*/ 194 h 206"/>
                <a:gd name="T8" fmla="*/ 365 w 365"/>
                <a:gd name="T9" fmla="*/ 150 h 206"/>
                <a:gd name="T10" fmla="*/ 261 w 365"/>
                <a:gd name="T11" fmla="*/ 161 h 206"/>
                <a:gd name="T12" fmla="*/ 183 w 365"/>
                <a:gd name="T13" fmla="*/ 46 h 206"/>
                <a:gd name="T14" fmla="*/ 121 w 365"/>
                <a:gd name="T15" fmla="*/ 100 h 206"/>
                <a:gd name="T16" fmla="*/ 0 w 365"/>
                <a:gd name="T17" fmla="*/ 0 h 206"/>
                <a:gd name="T18" fmla="*/ 0 w 365"/>
                <a:gd name="T19" fmla="*/ 61 h 206"/>
                <a:gd name="T20" fmla="*/ 120 w 365"/>
                <a:gd name="T21" fmla="*/ 15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5" h="206">
                  <a:moveTo>
                    <a:pt x="120" y="156"/>
                  </a:moveTo>
                  <a:lnTo>
                    <a:pt x="177" y="114"/>
                  </a:lnTo>
                  <a:lnTo>
                    <a:pt x="249" y="206"/>
                  </a:lnTo>
                  <a:lnTo>
                    <a:pt x="365" y="194"/>
                  </a:lnTo>
                  <a:lnTo>
                    <a:pt x="365" y="150"/>
                  </a:lnTo>
                  <a:lnTo>
                    <a:pt x="261" y="161"/>
                  </a:lnTo>
                  <a:lnTo>
                    <a:pt x="183" y="46"/>
                  </a:lnTo>
                  <a:lnTo>
                    <a:pt x="121" y="100"/>
                  </a:lnTo>
                  <a:lnTo>
                    <a:pt x="0" y="0"/>
                  </a:lnTo>
                  <a:lnTo>
                    <a:pt x="0" y="61"/>
                  </a:lnTo>
                  <a:lnTo>
                    <a:pt x="120" y="15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sp>
          <p:nvSpPr>
            <p:cNvPr id="112" name="Freeform 106">
              <a:extLst>
                <a:ext uri="{FF2B5EF4-FFF2-40B4-BE49-F238E27FC236}">
                  <a16:creationId xmlns:a16="http://schemas.microsoft.com/office/drawing/2014/main" id="{C7776075-7844-4C81-8694-1DF01E6A321B}"/>
                </a:ext>
              </a:extLst>
            </p:cNvPr>
            <p:cNvSpPr>
              <a:spLocks/>
            </p:cNvSpPr>
            <p:nvPr/>
          </p:nvSpPr>
          <p:spPr bwMode="auto">
            <a:xfrm>
              <a:off x="8443913" y="3384551"/>
              <a:ext cx="579438" cy="284163"/>
            </a:xfrm>
            <a:custGeom>
              <a:avLst/>
              <a:gdLst>
                <a:gd name="T0" fmla="*/ 236 w 365"/>
                <a:gd name="T1" fmla="*/ 138 h 179"/>
                <a:gd name="T2" fmla="*/ 171 w 365"/>
                <a:gd name="T3" fmla="*/ 55 h 179"/>
                <a:gd name="T4" fmla="*/ 119 w 365"/>
                <a:gd name="T5" fmla="*/ 94 h 179"/>
                <a:gd name="T6" fmla="*/ 0 w 365"/>
                <a:gd name="T7" fmla="*/ 0 h 179"/>
                <a:gd name="T8" fmla="*/ 0 w 365"/>
                <a:gd name="T9" fmla="*/ 179 h 179"/>
                <a:gd name="T10" fmla="*/ 365 w 365"/>
                <a:gd name="T11" fmla="*/ 179 h 179"/>
                <a:gd name="T12" fmla="*/ 365 w 365"/>
                <a:gd name="T13" fmla="*/ 124 h 179"/>
                <a:gd name="T14" fmla="*/ 236 w 365"/>
                <a:gd name="T15" fmla="*/ 138 h 1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5" h="179">
                  <a:moveTo>
                    <a:pt x="236" y="138"/>
                  </a:moveTo>
                  <a:lnTo>
                    <a:pt x="171" y="55"/>
                  </a:lnTo>
                  <a:lnTo>
                    <a:pt x="119" y="94"/>
                  </a:lnTo>
                  <a:lnTo>
                    <a:pt x="0" y="0"/>
                  </a:lnTo>
                  <a:lnTo>
                    <a:pt x="0" y="179"/>
                  </a:lnTo>
                  <a:lnTo>
                    <a:pt x="365" y="179"/>
                  </a:lnTo>
                  <a:lnTo>
                    <a:pt x="365" y="124"/>
                  </a:lnTo>
                  <a:lnTo>
                    <a:pt x="236" y="1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grpSp>
      <p:grpSp>
        <p:nvGrpSpPr>
          <p:cNvPr id="113" name="AI" descr="{&quot;Key&quot;:&quot;POWER_USER_SHAPE_ICON&quot;,&quot;Value&quot;:&quot;POWER_USER_SHAPE_ICON_STYLE_1&quot;}">
            <a:extLst>
              <a:ext uri="{FF2B5EF4-FFF2-40B4-BE49-F238E27FC236}">
                <a16:creationId xmlns:a16="http://schemas.microsoft.com/office/drawing/2014/main" id="{B2B9F2C2-056F-4104-B8F1-A665FF79CD85}"/>
              </a:ext>
            </a:extLst>
          </p:cNvPr>
          <p:cNvGrpSpPr>
            <a:grpSpLocks noChangeAspect="1"/>
          </p:cNvGrpSpPr>
          <p:nvPr>
            <p:custDataLst>
              <p:tags r:id="rId4"/>
            </p:custDataLst>
          </p:nvPr>
        </p:nvGrpSpPr>
        <p:grpSpPr>
          <a:xfrm>
            <a:off x="1077206" y="4596763"/>
            <a:ext cx="542925" cy="542925"/>
            <a:chOff x="3037632" y="1211423"/>
            <a:chExt cx="722635" cy="722633"/>
          </a:xfrm>
          <a:solidFill>
            <a:schemeClr val="accent1"/>
          </a:solidFill>
        </p:grpSpPr>
        <p:grpSp>
          <p:nvGrpSpPr>
            <p:cNvPr id="114" name="Brain9">
              <a:extLst>
                <a:ext uri="{FF2B5EF4-FFF2-40B4-BE49-F238E27FC236}">
                  <a16:creationId xmlns:a16="http://schemas.microsoft.com/office/drawing/2014/main" id="{D85C2B38-5AC1-42A6-9DF3-945AF973EA67}"/>
                </a:ext>
              </a:extLst>
            </p:cNvPr>
            <p:cNvGrpSpPr>
              <a:grpSpLocks noChangeAspect="1"/>
            </p:cNvGrpSpPr>
            <p:nvPr>
              <p:custDataLst>
                <p:tags r:id="rId9"/>
              </p:custDataLst>
            </p:nvPr>
          </p:nvGrpSpPr>
          <p:grpSpPr>
            <a:xfrm>
              <a:off x="3037632" y="1211423"/>
              <a:ext cx="722635" cy="722633"/>
              <a:chOff x="6621463" y="3619501"/>
              <a:chExt cx="292100" cy="292100"/>
            </a:xfrm>
            <a:grpFill/>
          </p:grpSpPr>
          <p:sp>
            <p:nvSpPr>
              <p:cNvPr id="116" name="Freeform 558">
                <a:extLst>
                  <a:ext uri="{FF2B5EF4-FFF2-40B4-BE49-F238E27FC236}">
                    <a16:creationId xmlns:a16="http://schemas.microsoft.com/office/drawing/2014/main" id="{3C106F04-55A2-45F0-B828-C5F4CBD3412A}"/>
                  </a:ext>
                </a:extLst>
              </p:cNvPr>
              <p:cNvSpPr>
                <a:spLocks noEditPoints="1"/>
              </p:cNvSpPr>
              <p:nvPr/>
            </p:nvSpPr>
            <p:spPr bwMode="auto">
              <a:xfrm>
                <a:off x="6621463" y="3619501"/>
                <a:ext cx="292100" cy="292100"/>
              </a:xfrm>
              <a:custGeom>
                <a:avLst/>
                <a:gdLst>
                  <a:gd name="T0" fmla="*/ 332 w 383"/>
                  <a:gd name="T1" fmla="*/ 165 h 383"/>
                  <a:gd name="T2" fmla="*/ 332 w 383"/>
                  <a:gd name="T3" fmla="*/ 174 h 383"/>
                  <a:gd name="T4" fmla="*/ 356 w 383"/>
                  <a:gd name="T5" fmla="*/ 233 h 383"/>
                  <a:gd name="T6" fmla="*/ 297 w 383"/>
                  <a:gd name="T7" fmla="*/ 248 h 383"/>
                  <a:gd name="T8" fmla="*/ 319 w 383"/>
                  <a:gd name="T9" fmla="*/ 360 h 383"/>
                  <a:gd name="T10" fmla="*/ 225 w 383"/>
                  <a:gd name="T11" fmla="*/ 262 h 383"/>
                  <a:gd name="T12" fmla="*/ 255 w 383"/>
                  <a:gd name="T13" fmla="*/ 218 h 383"/>
                  <a:gd name="T14" fmla="*/ 216 w 383"/>
                  <a:gd name="T15" fmla="*/ 255 h 383"/>
                  <a:gd name="T16" fmla="*/ 216 w 383"/>
                  <a:gd name="T17" fmla="*/ 255 h 383"/>
                  <a:gd name="T18" fmla="*/ 163 w 383"/>
                  <a:gd name="T19" fmla="*/ 232 h 383"/>
                  <a:gd name="T20" fmla="*/ 104 w 383"/>
                  <a:gd name="T21" fmla="*/ 249 h 383"/>
                  <a:gd name="T22" fmla="*/ 86 w 383"/>
                  <a:gd name="T23" fmla="*/ 184 h 383"/>
                  <a:gd name="T24" fmla="*/ 76 w 383"/>
                  <a:gd name="T25" fmla="*/ 185 h 383"/>
                  <a:gd name="T26" fmla="*/ 16 w 383"/>
                  <a:gd name="T27" fmla="*/ 192 h 383"/>
                  <a:gd name="T28" fmla="*/ 27 w 383"/>
                  <a:gd name="T29" fmla="*/ 143 h 383"/>
                  <a:gd name="T30" fmla="*/ 53 w 383"/>
                  <a:gd name="T31" fmla="*/ 91 h 383"/>
                  <a:gd name="T32" fmla="*/ 93 w 383"/>
                  <a:gd name="T33" fmla="*/ 113 h 383"/>
                  <a:gd name="T34" fmla="*/ 98 w 383"/>
                  <a:gd name="T35" fmla="*/ 106 h 383"/>
                  <a:gd name="T36" fmla="*/ 76 w 383"/>
                  <a:gd name="T37" fmla="*/ 52 h 383"/>
                  <a:gd name="T38" fmla="*/ 107 w 383"/>
                  <a:gd name="T39" fmla="*/ 46 h 383"/>
                  <a:gd name="T40" fmla="*/ 169 w 383"/>
                  <a:gd name="T41" fmla="*/ 29 h 383"/>
                  <a:gd name="T42" fmla="*/ 237 w 383"/>
                  <a:gd name="T43" fmla="*/ 30 h 383"/>
                  <a:gd name="T44" fmla="*/ 212 w 383"/>
                  <a:gd name="T45" fmla="*/ 87 h 383"/>
                  <a:gd name="T46" fmla="*/ 218 w 383"/>
                  <a:gd name="T47" fmla="*/ 95 h 383"/>
                  <a:gd name="T48" fmla="*/ 269 w 383"/>
                  <a:gd name="T49" fmla="*/ 108 h 383"/>
                  <a:gd name="T50" fmla="*/ 274 w 383"/>
                  <a:gd name="T51" fmla="*/ 112 h 383"/>
                  <a:gd name="T52" fmla="*/ 255 w 383"/>
                  <a:gd name="T53" fmla="*/ 80 h 383"/>
                  <a:gd name="T54" fmla="*/ 289 w 383"/>
                  <a:gd name="T55" fmla="*/ 35 h 383"/>
                  <a:gd name="T56" fmla="*/ 300 w 383"/>
                  <a:gd name="T57" fmla="*/ 69 h 383"/>
                  <a:gd name="T58" fmla="*/ 302 w 383"/>
                  <a:gd name="T59" fmla="*/ 78 h 383"/>
                  <a:gd name="T60" fmla="*/ 319 w 383"/>
                  <a:gd name="T61" fmla="*/ 78 h 383"/>
                  <a:gd name="T62" fmla="*/ 350 w 383"/>
                  <a:gd name="T63" fmla="*/ 123 h 383"/>
                  <a:gd name="T64" fmla="*/ 365 w 383"/>
                  <a:gd name="T65" fmla="*/ 180 h 383"/>
                  <a:gd name="T66" fmla="*/ 356 w 383"/>
                  <a:gd name="T67" fmla="*/ 116 h 383"/>
                  <a:gd name="T68" fmla="*/ 293 w 383"/>
                  <a:gd name="T69" fmla="*/ 27 h 383"/>
                  <a:gd name="T70" fmla="*/ 170 w 383"/>
                  <a:gd name="T71" fmla="*/ 19 h 383"/>
                  <a:gd name="T72" fmla="*/ 70 w 383"/>
                  <a:gd name="T73" fmla="*/ 44 h 383"/>
                  <a:gd name="T74" fmla="*/ 20 w 383"/>
                  <a:gd name="T75" fmla="*/ 102 h 383"/>
                  <a:gd name="T76" fmla="*/ 8 w 383"/>
                  <a:gd name="T77" fmla="*/ 196 h 383"/>
                  <a:gd name="T78" fmla="*/ 102 w 383"/>
                  <a:gd name="T79" fmla="*/ 258 h 383"/>
                  <a:gd name="T80" fmla="*/ 215 w 383"/>
                  <a:gd name="T81" fmla="*/ 265 h 383"/>
                  <a:gd name="T82" fmla="*/ 298 w 383"/>
                  <a:gd name="T83" fmla="*/ 383 h 383"/>
                  <a:gd name="T84" fmla="*/ 327 w 383"/>
                  <a:gd name="T85" fmla="*/ 366 h 383"/>
                  <a:gd name="T86" fmla="*/ 307 w 383"/>
                  <a:gd name="T87" fmla="*/ 257 h 383"/>
                  <a:gd name="T88" fmla="*/ 371 w 383"/>
                  <a:gd name="T89" fmla="*/ 18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83" h="383">
                    <a:moveTo>
                      <a:pt x="365" y="180"/>
                    </a:moveTo>
                    <a:cubicBezTo>
                      <a:pt x="357" y="169"/>
                      <a:pt x="346" y="164"/>
                      <a:pt x="332" y="165"/>
                    </a:cubicBezTo>
                    <a:cubicBezTo>
                      <a:pt x="329" y="165"/>
                      <a:pt x="327" y="167"/>
                      <a:pt x="327" y="170"/>
                    </a:cubicBezTo>
                    <a:cubicBezTo>
                      <a:pt x="327" y="173"/>
                      <a:pt x="330" y="175"/>
                      <a:pt x="332" y="174"/>
                    </a:cubicBezTo>
                    <a:cubicBezTo>
                      <a:pt x="346" y="174"/>
                      <a:pt x="354" y="179"/>
                      <a:pt x="361" y="191"/>
                    </a:cubicBezTo>
                    <a:cubicBezTo>
                      <a:pt x="368" y="205"/>
                      <a:pt x="366" y="221"/>
                      <a:pt x="356" y="233"/>
                    </a:cubicBezTo>
                    <a:cubicBezTo>
                      <a:pt x="344" y="247"/>
                      <a:pt x="323" y="253"/>
                      <a:pt x="302" y="247"/>
                    </a:cubicBezTo>
                    <a:cubicBezTo>
                      <a:pt x="300" y="246"/>
                      <a:pt x="299" y="246"/>
                      <a:pt x="297" y="248"/>
                    </a:cubicBezTo>
                    <a:cubicBezTo>
                      <a:pt x="296" y="249"/>
                      <a:pt x="296" y="250"/>
                      <a:pt x="296" y="252"/>
                    </a:cubicBezTo>
                    <a:lnTo>
                      <a:pt x="319" y="360"/>
                    </a:lnTo>
                    <a:lnTo>
                      <a:pt x="299" y="372"/>
                    </a:lnTo>
                    <a:lnTo>
                      <a:pt x="225" y="262"/>
                    </a:lnTo>
                    <a:cubicBezTo>
                      <a:pt x="243" y="255"/>
                      <a:pt x="257" y="240"/>
                      <a:pt x="259" y="224"/>
                    </a:cubicBezTo>
                    <a:cubicBezTo>
                      <a:pt x="260" y="221"/>
                      <a:pt x="258" y="219"/>
                      <a:pt x="255" y="218"/>
                    </a:cubicBezTo>
                    <a:cubicBezTo>
                      <a:pt x="253" y="218"/>
                      <a:pt x="250" y="220"/>
                      <a:pt x="250" y="222"/>
                    </a:cubicBezTo>
                    <a:cubicBezTo>
                      <a:pt x="248" y="237"/>
                      <a:pt x="233" y="251"/>
                      <a:pt x="216" y="255"/>
                    </a:cubicBezTo>
                    <a:cubicBezTo>
                      <a:pt x="216" y="255"/>
                      <a:pt x="216" y="255"/>
                      <a:pt x="216" y="255"/>
                    </a:cubicBezTo>
                    <a:lnTo>
                      <a:pt x="216" y="255"/>
                    </a:lnTo>
                    <a:cubicBezTo>
                      <a:pt x="201" y="259"/>
                      <a:pt x="178" y="249"/>
                      <a:pt x="166" y="233"/>
                    </a:cubicBezTo>
                    <a:cubicBezTo>
                      <a:pt x="165" y="232"/>
                      <a:pt x="164" y="232"/>
                      <a:pt x="163" y="232"/>
                    </a:cubicBezTo>
                    <a:cubicBezTo>
                      <a:pt x="161" y="231"/>
                      <a:pt x="160" y="232"/>
                      <a:pt x="159" y="233"/>
                    </a:cubicBezTo>
                    <a:cubicBezTo>
                      <a:pt x="146" y="247"/>
                      <a:pt x="125" y="253"/>
                      <a:pt x="104" y="249"/>
                    </a:cubicBezTo>
                    <a:cubicBezTo>
                      <a:pt x="85" y="244"/>
                      <a:pt x="70" y="233"/>
                      <a:pt x="63" y="218"/>
                    </a:cubicBezTo>
                    <a:cubicBezTo>
                      <a:pt x="76" y="213"/>
                      <a:pt x="88" y="200"/>
                      <a:pt x="86" y="184"/>
                    </a:cubicBezTo>
                    <a:cubicBezTo>
                      <a:pt x="85" y="181"/>
                      <a:pt x="83" y="179"/>
                      <a:pt x="80" y="180"/>
                    </a:cubicBezTo>
                    <a:cubicBezTo>
                      <a:pt x="78" y="180"/>
                      <a:pt x="76" y="182"/>
                      <a:pt x="76" y="185"/>
                    </a:cubicBezTo>
                    <a:cubicBezTo>
                      <a:pt x="78" y="198"/>
                      <a:pt x="67" y="207"/>
                      <a:pt x="56" y="211"/>
                    </a:cubicBezTo>
                    <a:cubicBezTo>
                      <a:pt x="38" y="214"/>
                      <a:pt x="23" y="207"/>
                      <a:pt x="16" y="192"/>
                    </a:cubicBezTo>
                    <a:cubicBezTo>
                      <a:pt x="10" y="177"/>
                      <a:pt x="14" y="159"/>
                      <a:pt x="26" y="148"/>
                    </a:cubicBezTo>
                    <a:cubicBezTo>
                      <a:pt x="28" y="147"/>
                      <a:pt x="28" y="145"/>
                      <a:pt x="27" y="143"/>
                    </a:cubicBezTo>
                    <a:cubicBezTo>
                      <a:pt x="22" y="130"/>
                      <a:pt x="22" y="117"/>
                      <a:pt x="28" y="107"/>
                    </a:cubicBezTo>
                    <a:cubicBezTo>
                      <a:pt x="33" y="98"/>
                      <a:pt x="42" y="92"/>
                      <a:pt x="53" y="91"/>
                    </a:cubicBezTo>
                    <a:cubicBezTo>
                      <a:pt x="69" y="89"/>
                      <a:pt x="83" y="97"/>
                      <a:pt x="89" y="110"/>
                    </a:cubicBezTo>
                    <a:cubicBezTo>
                      <a:pt x="90" y="112"/>
                      <a:pt x="91" y="113"/>
                      <a:pt x="93" y="113"/>
                    </a:cubicBezTo>
                    <a:cubicBezTo>
                      <a:pt x="94" y="113"/>
                      <a:pt x="94" y="113"/>
                      <a:pt x="95" y="112"/>
                    </a:cubicBezTo>
                    <a:cubicBezTo>
                      <a:pt x="97" y="111"/>
                      <a:pt x="99" y="109"/>
                      <a:pt x="98" y="106"/>
                    </a:cubicBezTo>
                    <a:cubicBezTo>
                      <a:pt x="91" y="91"/>
                      <a:pt x="76" y="82"/>
                      <a:pt x="59" y="81"/>
                    </a:cubicBezTo>
                    <a:cubicBezTo>
                      <a:pt x="61" y="69"/>
                      <a:pt x="67" y="58"/>
                      <a:pt x="76" y="52"/>
                    </a:cubicBezTo>
                    <a:cubicBezTo>
                      <a:pt x="84" y="46"/>
                      <a:pt x="94" y="44"/>
                      <a:pt x="105" y="46"/>
                    </a:cubicBezTo>
                    <a:cubicBezTo>
                      <a:pt x="106" y="46"/>
                      <a:pt x="106" y="46"/>
                      <a:pt x="107" y="46"/>
                    </a:cubicBezTo>
                    <a:cubicBezTo>
                      <a:pt x="108" y="46"/>
                      <a:pt x="109" y="45"/>
                      <a:pt x="110" y="44"/>
                    </a:cubicBezTo>
                    <a:cubicBezTo>
                      <a:pt x="113" y="41"/>
                      <a:pt x="135" y="16"/>
                      <a:pt x="169" y="29"/>
                    </a:cubicBezTo>
                    <a:cubicBezTo>
                      <a:pt x="171" y="30"/>
                      <a:pt x="173" y="29"/>
                      <a:pt x="174" y="28"/>
                    </a:cubicBezTo>
                    <a:cubicBezTo>
                      <a:pt x="194" y="9"/>
                      <a:pt x="222" y="14"/>
                      <a:pt x="237" y="30"/>
                    </a:cubicBezTo>
                    <a:cubicBezTo>
                      <a:pt x="245" y="40"/>
                      <a:pt x="251" y="59"/>
                      <a:pt x="246" y="78"/>
                    </a:cubicBezTo>
                    <a:cubicBezTo>
                      <a:pt x="229" y="77"/>
                      <a:pt x="213" y="87"/>
                      <a:pt x="212" y="87"/>
                    </a:cubicBezTo>
                    <a:cubicBezTo>
                      <a:pt x="210" y="89"/>
                      <a:pt x="210" y="92"/>
                      <a:pt x="211" y="94"/>
                    </a:cubicBezTo>
                    <a:cubicBezTo>
                      <a:pt x="213" y="96"/>
                      <a:pt x="215" y="97"/>
                      <a:pt x="218" y="95"/>
                    </a:cubicBezTo>
                    <a:cubicBezTo>
                      <a:pt x="218" y="95"/>
                      <a:pt x="234" y="84"/>
                      <a:pt x="249" y="88"/>
                    </a:cubicBezTo>
                    <a:cubicBezTo>
                      <a:pt x="264" y="91"/>
                      <a:pt x="268" y="108"/>
                      <a:pt x="269" y="108"/>
                    </a:cubicBezTo>
                    <a:cubicBezTo>
                      <a:pt x="269" y="110"/>
                      <a:pt x="271" y="112"/>
                      <a:pt x="273" y="112"/>
                    </a:cubicBezTo>
                    <a:cubicBezTo>
                      <a:pt x="273" y="112"/>
                      <a:pt x="274" y="112"/>
                      <a:pt x="274" y="112"/>
                    </a:cubicBezTo>
                    <a:cubicBezTo>
                      <a:pt x="277" y="111"/>
                      <a:pt x="278" y="108"/>
                      <a:pt x="278" y="106"/>
                    </a:cubicBezTo>
                    <a:cubicBezTo>
                      <a:pt x="277" y="105"/>
                      <a:pt x="272" y="87"/>
                      <a:pt x="255" y="80"/>
                    </a:cubicBezTo>
                    <a:cubicBezTo>
                      <a:pt x="260" y="61"/>
                      <a:pt x="255" y="42"/>
                      <a:pt x="248" y="29"/>
                    </a:cubicBezTo>
                    <a:cubicBezTo>
                      <a:pt x="262" y="26"/>
                      <a:pt x="276" y="28"/>
                      <a:pt x="289" y="35"/>
                    </a:cubicBezTo>
                    <a:cubicBezTo>
                      <a:pt x="301" y="42"/>
                      <a:pt x="310" y="54"/>
                      <a:pt x="314" y="67"/>
                    </a:cubicBezTo>
                    <a:cubicBezTo>
                      <a:pt x="310" y="67"/>
                      <a:pt x="305" y="67"/>
                      <a:pt x="300" y="69"/>
                    </a:cubicBezTo>
                    <a:cubicBezTo>
                      <a:pt x="298" y="69"/>
                      <a:pt x="296" y="72"/>
                      <a:pt x="297" y="75"/>
                    </a:cubicBezTo>
                    <a:cubicBezTo>
                      <a:pt x="298" y="77"/>
                      <a:pt x="299" y="78"/>
                      <a:pt x="302" y="78"/>
                    </a:cubicBezTo>
                    <a:cubicBezTo>
                      <a:pt x="302" y="78"/>
                      <a:pt x="302" y="78"/>
                      <a:pt x="303" y="78"/>
                    </a:cubicBezTo>
                    <a:cubicBezTo>
                      <a:pt x="311" y="75"/>
                      <a:pt x="319" y="78"/>
                      <a:pt x="319" y="78"/>
                    </a:cubicBezTo>
                    <a:cubicBezTo>
                      <a:pt x="330" y="81"/>
                      <a:pt x="349" y="94"/>
                      <a:pt x="347" y="118"/>
                    </a:cubicBezTo>
                    <a:cubicBezTo>
                      <a:pt x="347" y="120"/>
                      <a:pt x="348" y="122"/>
                      <a:pt x="350" y="123"/>
                    </a:cubicBezTo>
                    <a:cubicBezTo>
                      <a:pt x="359" y="127"/>
                      <a:pt x="366" y="135"/>
                      <a:pt x="369" y="146"/>
                    </a:cubicBezTo>
                    <a:cubicBezTo>
                      <a:pt x="372" y="156"/>
                      <a:pt x="371" y="169"/>
                      <a:pt x="365" y="180"/>
                    </a:cubicBezTo>
                    <a:close/>
                    <a:moveTo>
                      <a:pt x="378" y="143"/>
                    </a:moveTo>
                    <a:cubicBezTo>
                      <a:pt x="375" y="131"/>
                      <a:pt x="367" y="121"/>
                      <a:pt x="356" y="116"/>
                    </a:cubicBezTo>
                    <a:cubicBezTo>
                      <a:pt x="357" y="89"/>
                      <a:pt x="338" y="75"/>
                      <a:pt x="325" y="70"/>
                    </a:cubicBezTo>
                    <a:cubicBezTo>
                      <a:pt x="321" y="52"/>
                      <a:pt x="309" y="36"/>
                      <a:pt x="293" y="27"/>
                    </a:cubicBezTo>
                    <a:cubicBezTo>
                      <a:pt x="277" y="18"/>
                      <a:pt x="259" y="16"/>
                      <a:pt x="241" y="21"/>
                    </a:cubicBezTo>
                    <a:cubicBezTo>
                      <a:pt x="223" y="4"/>
                      <a:pt x="193" y="0"/>
                      <a:pt x="170" y="19"/>
                    </a:cubicBezTo>
                    <a:cubicBezTo>
                      <a:pt x="136" y="7"/>
                      <a:pt x="112" y="29"/>
                      <a:pt x="105" y="36"/>
                    </a:cubicBezTo>
                    <a:cubicBezTo>
                      <a:pt x="92" y="34"/>
                      <a:pt x="80" y="37"/>
                      <a:pt x="70" y="44"/>
                    </a:cubicBezTo>
                    <a:cubicBezTo>
                      <a:pt x="59" y="53"/>
                      <a:pt x="51" y="66"/>
                      <a:pt x="49" y="82"/>
                    </a:cubicBezTo>
                    <a:cubicBezTo>
                      <a:pt x="36" y="85"/>
                      <a:pt x="26" y="92"/>
                      <a:pt x="20" y="102"/>
                    </a:cubicBezTo>
                    <a:cubicBezTo>
                      <a:pt x="13" y="114"/>
                      <a:pt x="12" y="129"/>
                      <a:pt x="18" y="143"/>
                    </a:cubicBezTo>
                    <a:cubicBezTo>
                      <a:pt x="4" y="157"/>
                      <a:pt x="0" y="178"/>
                      <a:pt x="8" y="196"/>
                    </a:cubicBezTo>
                    <a:cubicBezTo>
                      <a:pt x="16" y="214"/>
                      <a:pt x="33" y="223"/>
                      <a:pt x="54" y="221"/>
                    </a:cubicBezTo>
                    <a:cubicBezTo>
                      <a:pt x="61" y="239"/>
                      <a:pt x="79" y="253"/>
                      <a:pt x="102" y="258"/>
                    </a:cubicBezTo>
                    <a:cubicBezTo>
                      <a:pt x="124" y="263"/>
                      <a:pt x="147" y="257"/>
                      <a:pt x="162" y="243"/>
                    </a:cubicBezTo>
                    <a:cubicBezTo>
                      <a:pt x="176" y="258"/>
                      <a:pt x="198" y="267"/>
                      <a:pt x="215" y="265"/>
                    </a:cubicBezTo>
                    <a:lnTo>
                      <a:pt x="294" y="381"/>
                    </a:lnTo>
                    <a:cubicBezTo>
                      <a:pt x="295" y="382"/>
                      <a:pt x="296" y="383"/>
                      <a:pt x="298" y="383"/>
                    </a:cubicBezTo>
                    <a:cubicBezTo>
                      <a:pt x="299" y="383"/>
                      <a:pt x="299" y="383"/>
                      <a:pt x="300" y="382"/>
                    </a:cubicBezTo>
                    <a:lnTo>
                      <a:pt x="327" y="366"/>
                    </a:lnTo>
                    <a:cubicBezTo>
                      <a:pt x="328" y="365"/>
                      <a:pt x="329" y="363"/>
                      <a:pt x="329" y="361"/>
                    </a:cubicBezTo>
                    <a:lnTo>
                      <a:pt x="307" y="257"/>
                    </a:lnTo>
                    <a:cubicBezTo>
                      <a:pt x="329" y="261"/>
                      <a:pt x="350" y="255"/>
                      <a:pt x="364" y="239"/>
                    </a:cubicBezTo>
                    <a:cubicBezTo>
                      <a:pt x="375" y="225"/>
                      <a:pt x="378" y="206"/>
                      <a:pt x="371" y="189"/>
                    </a:cubicBezTo>
                    <a:cubicBezTo>
                      <a:pt x="380" y="175"/>
                      <a:pt x="383" y="158"/>
                      <a:pt x="378" y="1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fr-FR">
                  <a:solidFill>
                    <a:prstClr val="black"/>
                  </a:solidFill>
                </a:endParaRPr>
              </a:p>
            </p:txBody>
          </p:sp>
          <p:sp>
            <p:nvSpPr>
              <p:cNvPr id="117" name="Freeform 559">
                <a:extLst>
                  <a:ext uri="{FF2B5EF4-FFF2-40B4-BE49-F238E27FC236}">
                    <a16:creationId xmlns:a16="http://schemas.microsoft.com/office/drawing/2014/main" id="{D87F29E7-CE07-4551-83A5-9F3C026A495C}"/>
                  </a:ext>
                </a:extLst>
              </p:cNvPr>
              <p:cNvSpPr>
                <a:spLocks/>
              </p:cNvSpPr>
              <p:nvPr/>
            </p:nvSpPr>
            <p:spPr bwMode="auto">
              <a:xfrm>
                <a:off x="6710363" y="3697289"/>
                <a:ext cx="41275" cy="63500"/>
              </a:xfrm>
              <a:custGeom>
                <a:avLst/>
                <a:gdLst>
                  <a:gd name="T0" fmla="*/ 35 w 54"/>
                  <a:gd name="T1" fmla="*/ 29 h 85"/>
                  <a:gd name="T2" fmla="*/ 35 w 54"/>
                  <a:gd name="T3" fmla="*/ 29 h 85"/>
                  <a:gd name="T4" fmla="*/ 44 w 54"/>
                  <a:gd name="T5" fmla="*/ 5 h 85"/>
                  <a:gd name="T6" fmla="*/ 40 w 54"/>
                  <a:gd name="T7" fmla="*/ 0 h 85"/>
                  <a:gd name="T8" fmla="*/ 35 w 54"/>
                  <a:gd name="T9" fmla="*/ 5 h 85"/>
                  <a:gd name="T10" fmla="*/ 5 w 54"/>
                  <a:gd name="T11" fmla="*/ 34 h 85"/>
                  <a:gd name="T12" fmla="*/ 1 w 54"/>
                  <a:gd name="T13" fmla="*/ 40 h 85"/>
                  <a:gd name="T14" fmla="*/ 6 w 54"/>
                  <a:gd name="T15" fmla="*/ 44 h 85"/>
                  <a:gd name="T16" fmla="*/ 6 w 54"/>
                  <a:gd name="T17" fmla="*/ 44 h 85"/>
                  <a:gd name="T18" fmla="*/ 28 w 54"/>
                  <a:gd name="T19" fmla="*/ 34 h 85"/>
                  <a:gd name="T20" fmla="*/ 30 w 54"/>
                  <a:gd name="T21" fmla="*/ 37 h 85"/>
                  <a:gd name="T22" fmla="*/ 37 w 54"/>
                  <a:gd name="T23" fmla="*/ 78 h 85"/>
                  <a:gd name="T24" fmla="*/ 40 w 54"/>
                  <a:gd name="T25" fmla="*/ 84 h 85"/>
                  <a:gd name="T26" fmla="*/ 42 w 54"/>
                  <a:gd name="T27" fmla="*/ 85 h 85"/>
                  <a:gd name="T28" fmla="*/ 46 w 54"/>
                  <a:gd name="T29" fmla="*/ 82 h 85"/>
                  <a:gd name="T30" fmla="*/ 35 w 54"/>
                  <a:gd name="T31" fmla="*/ 2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4" h="85">
                    <a:moveTo>
                      <a:pt x="35" y="29"/>
                    </a:moveTo>
                    <a:cubicBezTo>
                      <a:pt x="35" y="29"/>
                      <a:pt x="35" y="29"/>
                      <a:pt x="35" y="29"/>
                    </a:cubicBezTo>
                    <a:cubicBezTo>
                      <a:pt x="41" y="22"/>
                      <a:pt x="44" y="15"/>
                      <a:pt x="44" y="5"/>
                    </a:cubicBezTo>
                    <a:cubicBezTo>
                      <a:pt x="44" y="2"/>
                      <a:pt x="42" y="0"/>
                      <a:pt x="40" y="0"/>
                    </a:cubicBezTo>
                    <a:cubicBezTo>
                      <a:pt x="37" y="0"/>
                      <a:pt x="35" y="2"/>
                      <a:pt x="35" y="5"/>
                    </a:cubicBezTo>
                    <a:cubicBezTo>
                      <a:pt x="35" y="22"/>
                      <a:pt x="20" y="32"/>
                      <a:pt x="5" y="34"/>
                    </a:cubicBezTo>
                    <a:cubicBezTo>
                      <a:pt x="2" y="35"/>
                      <a:pt x="0" y="37"/>
                      <a:pt x="1" y="40"/>
                    </a:cubicBezTo>
                    <a:cubicBezTo>
                      <a:pt x="1" y="42"/>
                      <a:pt x="3" y="44"/>
                      <a:pt x="6" y="44"/>
                    </a:cubicBezTo>
                    <a:cubicBezTo>
                      <a:pt x="6" y="44"/>
                      <a:pt x="6" y="44"/>
                      <a:pt x="6" y="44"/>
                    </a:cubicBezTo>
                    <a:cubicBezTo>
                      <a:pt x="14" y="42"/>
                      <a:pt x="22" y="39"/>
                      <a:pt x="28" y="34"/>
                    </a:cubicBezTo>
                    <a:cubicBezTo>
                      <a:pt x="29" y="35"/>
                      <a:pt x="29" y="36"/>
                      <a:pt x="30" y="37"/>
                    </a:cubicBezTo>
                    <a:cubicBezTo>
                      <a:pt x="44" y="46"/>
                      <a:pt x="44" y="64"/>
                      <a:pt x="37" y="78"/>
                    </a:cubicBezTo>
                    <a:cubicBezTo>
                      <a:pt x="36" y="81"/>
                      <a:pt x="37" y="83"/>
                      <a:pt x="40" y="84"/>
                    </a:cubicBezTo>
                    <a:cubicBezTo>
                      <a:pt x="40" y="85"/>
                      <a:pt x="41" y="85"/>
                      <a:pt x="42" y="85"/>
                    </a:cubicBezTo>
                    <a:cubicBezTo>
                      <a:pt x="43" y="85"/>
                      <a:pt x="45" y="84"/>
                      <a:pt x="46" y="82"/>
                    </a:cubicBezTo>
                    <a:cubicBezTo>
                      <a:pt x="54" y="65"/>
                      <a:pt x="54" y="42"/>
                      <a:pt x="35"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fr-FR">
                  <a:solidFill>
                    <a:prstClr val="black"/>
                  </a:solidFill>
                </a:endParaRPr>
              </a:p>
            </p:txBody>
          </p:sp>
        </p:grpSp>
        <p:sp>
          <p:nvSpPr>
            <p:cNvPr id="115" name="Freeform 8">
              <a:extLst>
                <a:ext uri="{FF2B5EF4-FFF2-40B4-BE49-F238E27FC236}">
                  <a16:creationId xmlns:a16="http://schemas.microsoft.com/office/drawing/2014/main" id="{A3A8FC19-79AD-49A3-9565-4D330863CB96}"/>
                </a:ext>
              </a:extLst>
            </p:cNvPr>
            <p:cNvSpPr>
              <a:spLocks noEditPoints="1"/>
            </p:cNvSpPr>
            <p:nvPr/>
          </p:nvSpPr>
          <p:spPr bwMode="auto">
            <a:xfrm>
              <a:off x="3365623" y="1444637"/>
              <a:ext cx="190291" cy="153560"/>
            </a:xfrm>
            <a:custGeom>
              <a:avLst/>
              <a:gdLst>
                <a:gd name="T0" fmla="*/ 167 w 683"/>
                <a:gd name="T1" fmla="*/ 338 h 551"/>
                <a:gd name="T2" fmla="*/ 244 w 683"/>
                <a:gd name="T3" fmla="*/ 105 h 551"/>
                <a:gd name="T4" fmla="*/ 628 w 683"/>
                <a:gd name="T5" fmla="*/ 0 h 551"/>
                <a:gd name="T6" fmla="*/ 655 w 683"/>
                <a:gd name="T7" fmla="*/ 0 h 551"/>
                <a:gd name="T8" fmla="*/ 672 w 683"/>
                <a:gd name="T9" fmla="*/ 4 h 551"/>
                <a:gd name="T10" fmla="*/ 683 w 683"/>
                <a:gd name="T11" fmla="*/ 17 h 551"/>
                <a:gd name="T12" fmla="*/ 682 w 683"/>
                <a:gd name="T13" fmla="*/ 539 h 551"/>
                <a:gd name="T14" fmla="*/ 664 w 683"/>
                <a:gd name="T15" fmla="*/ 547 h 551"/>
                <a:gd name="T16" fmla="*/ 643 w 683"/>
                <a:gd name="T17" fmla="*/ 549 h 551"/>
                <a:gd name="T18" fmla="*/ 612 w 683"/>
                <a:gd name="T19" fmla="*/ 549 h 551"/>
                <a:gd name="T20" fmla="*/ 591 w 683"/>
                <a:gd name="T21" fmla="*/ 547 h 551"/>
                <a:gd name="T22" fmla="*/ 574 w 683"/>
                <a:gd name="T23" fmla="*/ 539 h 551"/>
                <a:gd name="T24" fmla="*/ 572 w 683"/>
                <a:gd name="T25" fmla="*/ 17 h 551"/>
                <a:gd name="T26" fmla="*/ 578 w 683"/>
                <a:gd name="T27" fmla="*/ 6 h 551"/>
                <a:gd name="T28" fmla="*/ 591 w 683"/>
                <a:gd name="T29" fmla="*/ 2 h 551"/>
                <a:gd name="T30" fmla="*/ 612 w 683"/>
                <a:gd name="T31" fmla="*/ 0 h 551"/>
                <a:gd name="T32" fmla="*/ 628 w 683"/>
                <a:gd name="T33" fmla="*/ 0 h 551"/>
                <a:gd name="T34" fmla="*/ 269 w 683"/>
                <a:gd name="T35" fmla="*/ 0 h 551"/>
                <a:gd name="T36" fmla="*/ 299 w 683"/>
                <a:gd name="T37" fmla="*/ 2 h 551"/>
                <a:gd name="T38" fmla="*/ 315 w 683"/>
                <a:gd name="T39" fmla="*/ 6 h 551"/>
                <a:gd name="T40" fmla="*/ 324 w 683"/>
                <a:gd name="T41" fmla="*/ 15 h 551"/>
                <a:gd name="T42" fmla="*/ 495 w 683"/>
                <a:gd name="T43" fmla="*/ 506 h 551"/>
                <a:gd name="T44" fmla="*/ 501 w 683"/>
                <a:gd name="T45" fmla="*/ 529 h 551"/>
                <a:gd name="T46" fmla="*/ 497 w 683"/>
                <a:gd name="T47" fmla="*/ 543 h 551"/>
                <a:gd name="T48" fmla="*/ 482 w 683"/>
                <a:gd name="T49" fmla="*/ 549 h 551"/>
                <a:gd name="T50" fmla="*/ 449 w 683"/>
                <a:gd name="T51" fmla="*/ 551 h 551"/>
                <a:gd name="T52" fmla="*/ 417 w 683"/>
                <a:gd name="T53" fmla="*/ 549 h 551"/>
                <a:gd name="T54" fmla="*/ 397 w 683"/>
                <a:gd name="T55" fmla="*/ 547 h 551"/>
                <a:gd name="T56" fmla="*/ 388 w 683"/>
                <a:gd name="T57" fmla="*/ 541 h 551"/>
                <a:gd name="T58" fmla="*/ 347 w 683"/>
                <a:gd name="T59" fmla="*/ 422 h 551"/>
                <a:gd name="T60" fmla="*/ 107 w 683"/>
                <a:gd name="T61" fmla="*/ 529 h 551"/>
                <a:gd name="T62" fmla="*/ 94 w 683"/>
                <a:gd name="T63" fmla="*/ 547 h 551"/>
                <a:gd name="T64" fmla="*/ 77 w 683"/>
                <a:gd name="T65" fmla="*/ 549 h 551"/>
                <a:gd name="T66" fmla="*/ 48 w 683"/>
                <a:gd name="T67" fmla="*/ 551 h 551"/>
                <a:gd name="T68" fmla="*/ 17 w 683"/>
                <a:gd name="T69" fmla="*/ 549 h 551"/>
                <a:gd name="T70" fmla="*/ 2 w 683"/>
                <a:gd name="T71" fmla="*/ 543 h 551"/>
                <a:gd name="T72" fmla="*/ 0 w 683"/>
                <a:gd name="T73" fmla="*/ 529 h 551"/>
                <a:gd name="T74" fmla="*/ 6 w 683"/>
                <a:gd name="T75" fmla="*/ 504 h 551"/>
                <a:gd name="T76" fmla="*/ 180 w 683"/>
                <a:gd name="T77" fmla="*/ 9 h 551"/>
                <a:gd name="T78" fmla="*/ 190 w 683"/>
                <a:gd name="T79" fmla="*/ 4 h 551"/>
                <a:gd name="T80" fmla="*/ 211 w 683"/>
                <a:gd name="T81" fmla="*/ 0 h 551"/>
                <a:gd name="T82" fmla="*/ 246 w 683"/>
                <a:gd name="T83" fmla="*/ 0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83" h="551">
                  <a:moveTo>
                    <a:pt x="244" y="105"/>
                  </a:moveTo>
                  <a:lnTo>
                    <a:pt x="167" y="338"/>
                  </a:lnTo>
                  <a:lnTo>
                    <a:pt x="323" y="338"/>
                  </a:lnTo>
                  <a:lnTo>
                    <a:pt x="244" y="105"/>
                  </a:lnTo>
                  <a:lnTo>
                    <a:pt x="244" y="105"/>
                  </a:lnTo>
                  <a:close/>
                  <a:moveTo>
                    <a:pt x="628" y="0"/>
                  </a:moveTo>
                  <a:lnTo>
                    <a:pt x="643" y="0"/>
                  </a:lnTo>
                  <a:lnTo>
                    <a:pt x="655" y="0"/>
                  </a:lnTo>
                  <a:lnTo>
                    <a:pt x="664" y="2"/>
                  </a:lnTo>
                  <a:lnTo>
                    <a:pt x="672" y="4"/>
                  </a:lnTo>
                  <a:lnTo>
                    <a:pt x="682" y="9"/>
                  </a:lnTo>
                  <a:lnTo>
                    <a:pt x="683" y="17"/>
                  </a:lnTo>
                  <a:lnTo>
                    <a:pt x="683" y="531"/>
                  </a:lnTo>
                  <a:lnTo>
                    <a:pt x="682" y="539"/>
                  </a:lnTo>
                  <a:lnTo>
                    <a:pt x="672" y="545"/>
                  </a:lnTo>
                  <a:lnTo>
                    <a:pt x="664" y="547"/>
                  </a:lnTo>
                  <a:lnTo>
                    <a:pt x="655" y="549"/>
                  </a:lnTo>
                  <a:lnTo>
                    <a:pt x="643" y="549"/>
                  </a:lnTo>
                  <a:lnTo>
                    <a:pt x="628" y="551"/>
                  </a:lnTo>
                  <a:lnTo>
                    <a:pt x="612" y="549"/>
                  </a:lnTo>
                  <a:lnTo>
                    <a:pt x="601" y="549"/>
                  </a:lnTo>
                  <a:lnTo>
                    <a:pt x="591" y="547"/>
                  </a:lnTo>
                  <a:lnTo>
                    <a:pt x="584" y="545"/>
                  </a:lnTo>
                  <a:lnTo>
                    <a:pt x="574" y="539"/>
                  </a:lnTo>
                  <a:lnTo>
                    <a:pt x="572" y="531"/>
                  </a:lnTo>
                  <a:lnTo>
                    <a:pt x="572" y="17"/>
                  </a:lnTo>
                  <a:lnTo>
                    <a:pt x="574" y="9"/>
                  </a:lnTo>
                  <a:lnTo>
                    <a:pt x="578" y="6"/>
                  </a:lnTo>
                  <a:lnTo>
                    <a:pt x="584" y="4"/>
                  </a:lnTo>
                  <a:lnTo>
                    <a:pt x="591" y="2"/>
                  </a:lnTo>
                  <a:lnTo>
                    <a:pt x="601" y="0"/>
                  </a:lnTo>
                  <a:lnTo>
                    <a:pt x="612" y="0"/>
                  </a:lnTo>
                  <a:lnTo>
                    <a:pt x="628" y="0"/>
                  </a:lnTo>
                  <a:lnTo>
                    <a:pt x="628" y="0"/>
                  </a:lnTo>
                  <a:close/>
                  <a:moveTo>
                    <a:pt x="246" y="0"/>
                  </a:moveTo>
                  <a:lnTo>
                    <a:pt x="269" y="0"/>
                  </a:lnTo>
                  <a:lnTo>
                    <a:pt x="286" y="0"/>
                  </a:lnTo>
                  <a:lnTo>
                    <a:pt x="299" y="2"/>
                  </a:lnTo>
                  <a:lnTo>
                    <a:pt x="309" y="4"/>
                  </a:lnTo>
                  <a:lnTo>
                    <a:pt x="315" y="6"/>
                  </a:lnTo>
                  <a:lnTo>
                    <a:pt x="321" y="9"/>
                  </a:lnTo>
                  <a:lnTo>
                    <a:pt x="324" y="15"/>
                  </a:lnTo>
                  <a:lnTo>
                    <a:pt x="326" y="23"/>
                  </a:lnTo>
                  <a:lnTo>
                    <a:pt x="495" y="506"/>
                  </a:lnTo>
                  <a:lnTo>
                    <a:pt x="499" y="520"/>
                  </a:lnTo>
                  <a:lnTo>
                    <a:pt x="501" y="529"/>
                  </a:lnTo>
                  <a:lnTo>
                    <a:pt x="501" y="537"/>
                  </a:lnTo>
                  <a:lnTo>
                    <a:pt x="497" y="543"/>
                  </a:lnTo>
                  <a:lnTo>
                    <a:pt x="491" y="547"/>
                  </a:lnTo>
                  <a:lnTo>
                    <a:pt x="482" y="549"/>
                  </a:lnTo>
                  <a:lnTo>
                    <a:pt x="468" y="549"/>
                  </a:lnTo>
                  <a:lnTo>
                    <a:pt x="449" y="551"/>
                  </a:lnTo>
                  <a:lnTo>
                    <a:pt x="430" y="551"/>
                  </a:lnTo>
                  <a:lnTo>
                    <a:pt x="417" y="549"/>
                  </a:lnTo>
                  <a:lnTo>
                    <a:pt x="405" y="549"/>
                  </a:lnTo>
                  <a:lnTo>
                    <a:pt x="397" y="547"/>
                  </a:lnTo>
                  <a:lnTo>
                    <a:pt x="392" y="545"/>
                  </a:lnTo>
                  <a:lnTo>
                    <a:pt x="388" y="541"/>
                  </a:lnTo>
                  <a:lnTo>
                    <a:pt x="384" y="533"/>
                  </a:lnTo>
                  <a:lnTo>
                    <a:pt x="347" y="422"/>
                  </a:lnTo>
                  <a:lnTo>
                    <a:pt x="142" y="422"/>
                  </a:lnTo>
                  <a:lnTo>
                    <a:pt x="107" y="529"/>
                  </a:lnTo>
                  <a:lnTo>
                    <a:pt x="104" y="539"/>
                  </a:lnTo>
                  <a:lnTo>
                    <a:pt x="94" y="547"/>
                  </a:lnTo>
                  <a:lnTo>
                    <a:pt x="86" y="549"/>
                  </a:lnTo>
                  <a:lnTo>
                    <a:pt x="77" y="549"/>
                  </a:lnTo>
                  <a:lnTo>
                    <a:pt x="65" y="549"/>
                  </a:lnTo>
                  <a:lnTo>
                    <a:pt x="48" y="551"/>
                  </a:lnTo>
                  <a:lnTo>
                    <a:pt x="31" y="549"/>
                  </a:lnTo>
                  <a:lnTo>
                    <a:pt x="17" y="549"/>
                  </a:lnTo>
                  <a:lnTo>
                    <a:pt x="8" y="547"/>
                  </a:lnTo>
                  <a:lnTo>
                    <a:pt x="2" y="543"/>
                  </a:lnTo>
                  <a:lnTo>
                    <a:pt x="0" y="537"/>
                  </a:lnTo>
                  <a:lnTo>
                    <a:pt x="0" y="529"/>
                  </a:lnTo>
                  <a:lnTo>
                    <a:pt x="2" y="518"/>
                  </a:lnTo>
                  <a:lnTo>
                    <a:pt x="6" y="504"/>
                  </a:lnTo>
                  <a:lnTo>
                    <a:pt x="175" y="21"/>
                  </a:lnTo>
                  <a:lnTo>
                    <a:pt x="180" y="9"/>
                  </a:lnTo>
                  <a:lnTo>
                    <a:pt x="184" y="6"/>
                  </a:lnTo>
                  <a:lnTo>
                    <a:pt x="190" y="4"/>
                  </a:lnTo>
                  <a:lnTo>
                    <a:pt x="200" y="2"/>
                  </a:lnTo>
                  <a:lnTo>
                    <a:pt x="211" y="0"/>
                  </a:lnTo>
                  <a:lnTo>
                    <a:pt x="227" y="0"/>
                  </a:lnTo>
                  <a:lnTo>
                    <a:pt x="246" y="0"/>
                  </a:lnTo>
                  <a:lnTo>
                    <a:pt x="246"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grpSp>
      <p:grpSp>
        <p:nvGrpSpPr>
          <p:cNvPr id="118" name="Digitized" descr="{&quot;Key&quot;:&quot;POWER_USER_SHAPE_ICON&quot;,&quot;Value&quot;:&quot;POWER_USER_SHAPE_ICON_STYLE_1&quot;}">
            <a:extLst>
              <a:ext uri="{FF2B5EF4-FFF2-40B4-BE49-F238E27FC236}">
                <a16:creationId xmlns:a16="http://schemas.microsoft.com/office/drawing/2014/main" id="{49D8B3DF-3898-4CF1-82A1-93D3C797763E}"/>
              </a:ext>
            </a:extLst>
          </p:cNvPr>
          <p:cNvGrpSpPr>
            <a:grpSpLocks noChangeAspect="1"/>
          </p:cNvGrpSpPr>
          <p:nvPr>
            <p:custDataLst>
              <p:tags r:id="rId5"/>
            </p:custDataLst>
          </p:nvPr>
        </p:nvGrpSpPr>
        <p:grpSpPr bwMode="auto">
          <a:xfrm>
            <a:off x="2787184" y="4596765"/>
            <a:ext cx="540315" cy="542925"/>
            <a:chOff x="40" y="37"/>
            <a:chExt cx="414" cy="416"/>
          </a:xfrm>
          <a:solidFill>
            <a:schemeClr val="accent4"/>
          </a:solidFill>
        </p:grpSpPr>
        <p:sp>
          <p:nvSpPr>
            <p:cNvPr id="119" name="Digitized">
              <a:extLst>
                <a:ext uri="{FF2B5EF4-FFF2-40B4-BE49-F238E27FC236}">
                  <a16:creationId xmlns:a16="http://schemas.microsoft.com/office/drawing/2014/main" id="{6031CFEA-DE45-45C0-8F43-8513FB2B4458}"/>
                </a:ext>
              </a:extLst>
            </p:cNvPr>
            <p:cNvSpPr>
              <a:spLocks/>
            </p:cNvSpPr>
            <p:nvPr>
              <p:custDataLst>
                <p:tags r:id="rId7"/>
              </p:custDataLst>
            </p:nvPr>
          </p:nvSpPr>
          <p:spPr bwMode="auto">
            <a:xfrm>
              <a:off x="40" y="156"/>
              <a:ext cx="414" cy="297"/>
            </a:xfrm>
            <a:custGeom>
              <a:avLst/>
              <a:gdLst>
                <a:gd name="T0" fmla="*/ 888 w 980"/>
                <a:gd name="T1" fmla="*/ 240 h 701"/>
                <a:gd name="T2" fmla="*/ 888 w 980"/>
                <a:gd name="T3" fmla="*/ 363 h 701"/>
                <a:gd name="T4" fmla="*/ 706 w 980"/>
                <a:gd name="T5" fmla="*/ 363 h 701"/>
                <a:gd name="T6" fmla="*/ 706 w 980"/>
                <a:gd name="T7" fmla="*/ 117 h 701"/>
                <a:gd name="T8" fmla="*/ 643 w 980"/>
                <a:gd name="T9" fmla="*/ 117 h 701"/>
                <a:gd name="T10" fmla="*/ 642 w 980"/>
                <a:gd name="T11" fmla="*/ 480 h 701"/>
                <a:gd name="T12" fmla="*/ 460 w 980"/>
                <a:gd name="T13" fmla="*/ 480 h 701"/>
                <a:gd name="T14" fmla="*/ 460 w 980"/>
                <a:gd name="T15" fmla="*/ 0 h 701"/>
                <a:gd name="T16" fmla="*/ 397 w 980"/>
                <a:gd name="T17" fmla="*/ 0 h 701"/>
                <a:gd name="T18" fmla="*/ 397 w 980"/>
                <a:gd name="T19" fmla="*/ 363 h 701"/>
                <a:gd name="T20" fmla="*/ 215 w 980"/>
                <a:gd name="T21" fmla="*/ 363 h 701"/>
                <a:gd name="T22" fmla="*/ 215 w 980"/>
                <a:gd name="T23" fmla="*/ 117 h 701"/>
                <a:gd name="T24" fmla="*/ 151 w 980"/>
                <a:gd name="T25" fmla="*/ 118 h 701"/>
                <a:gd name="T26" fmla="*/ 151 w 980"/>
                <a:gd name="T27" fmla="*/ 240 h 701"/>
                <a:gd name="T28" fmla="*/ 0 w 980"/>
                <a:gd name="T29" fmla="*/ 240 h 701"/>
                <a:gd name="T30" fmla="*/ 490 w 980"/>
                <a:gd name="T31" fmla="*/ 701 h 701"/>
                <a:gd name="T32" fmla="*/ 980 w 980"/>
                <a:gd name="T33" fmla="*/ 240 h 701"/>
                <a:gd name="T34" fmla="*/ 888 w 980"/>
                <a:gd name="T35" fmla="*/ 240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80" h="701">
                  <a:moveTo>
                    <a:pt x="888" y="240"/>
                  </a:moveTo>
                  <a:lnTo>
                    <a:pt x="888" y="363"/>
                  </a:lnTo>
                  <a:lnTo>
                    <a:pt x="706" y="363"/>
                  </a:lnTo>
                  <a:lnTo>
                    <a:pt x="706" y="117"/>
                  </a:lnTo>
                  <a:lnTo>
                    <a:pt x="643" y="117"/>
                  </a:lnTo>
                  <a:lnTo>
                    <a:pt x="642" y="480"/>
                  </a:lnTo>
                  <a:lnTo>
                    <a:pt x="460" y="480"/>
                  </a:lnTo>
                  <a:lnTo>
                    <a:pt x="460" y="0"/>
                  </a:lnTo>
                  <a:lnTo>
                    <a:pt x="397" y="0"/>
                  </a:lnTo>
                  <a:lnTo>
                    <a:pt x="397" y="363"/>
                  </a:lnTo>
                  <a:lnTo>
                    <a:pt x="215" y="363"/>
                  </a:lnTo>
                  <a:lnTo>
                    <a:pt x="215" y="117"/>
                  </a:lnTo>
                  <a:lnTo>
                    <a:pt x="151" y="118"/>
                  </a:lnTo>
                  <a:lnTo>
                    <a:pt x="151" y="240"/>
                  </a:lnTo>
                  <a:lnTo>
                    <a:pt x="0" y="240"/>
                  </a:lnTo>
                  <a:cubicBezTo>
                    <a:pt x="15" y="497"/>
                    <a:pt x="229" y="701"/>
                    <a:pt x="490" y="701"/>
                  </a:cubicBezTo>
                  <a:cubicBezTo>
                    <a:pt x="751" y="701"/>
                    <a:pt x="965" y="497"/>
                    <a:pt x="980" y="240"/>
                  </a:cubicBezTo>
                  <a:lnTo>
                    <a:pt x="888" y="24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20" name="Digitized">
              <a:extLst>
                <a:ext uri="{FF2B5EF4-FFF2-40B4-BE49-F238E27FC236}">
                  <a16:creationId xmlns:a16="http://schemas.microsoft.com/office/drawing/2014/main" id="{18C0D58C-D18A-4580-AC7D-C9C63C1A082D}"/>
                </a:ext>
              </a:extLst>
            </p:cNvPr>
            <p:cNvSpPr>
              <a:spLocks/>
            </p:cNvSpPr>
            <p:nvPr>
              <p:custDataLst>
                <p:tags r:id="rId8"/>
              </p:custDataLst>
            </p:nvPr>
          </p:nvSpPr>
          <p:spPr bwMode="auto">
            <a:xfrm>
              <a:off x="40" y="37"/>
              <a:ext cx="414" cy="297"/>
            </a:xfrm>
            <a:custGeom>
              <a:avLst/>
              <a:gdLst>
                <a:gd name="T0" fmla="*/ 91 w 980"/>
                <a:gd name="T1" fmla="*/ 461 h 701"/>
                <a:gd name="T2" fmla="*/ 92 w 980"/>
                <a:gd name="T3" fmla="*/ 340 h 701"/>
                <a:gd name="T4" fmla="*/ 274 w 980"/>
                <a:gd name="T5" fmla="*/ 338 h 701"/>
                <a:gd name="T6" fmla="*/ 274 w 980"/>
                <a:gd name="T7" fmla="*/ 584 h 701"/>
                <a:gd name="T8" fmla="*/ 337 w 980"/>
                <a:gd name="T9" fmla="*/ 584 h 701"/>
                <a:gd name="T10" fmla="*/ 337 w 980"/>
                <a:gd name="T11" fmla="*/ 221 h 701"/>
                <a:gd name="T12" fmla="*/ 520 w 980"/>
                <a:gd name="T13" fmla="*/ 221 h 701"/>
                <a:gd name="T14" fmla="*/ 520 w 980"/>
                <a:gd name="T15" fmla="*/ 701 h 701"/>
                <a:gd name="T16" fmla="*/ 582 w 980"/>
                <a:gd name="T17" fmla="*/ 701 h 701"/>
                <a:gd name="T18" fmla="*/ 583 w 980"/>
                <a:gd name="T19" fmla="*/ 338 h 701"/>
                <a:gd name="T20" fmla="*/ 765 w 980"/>
                <a:gd name="T21" fmla="*/ 338 h 701"/>
                <a:gd name="T22" fmla="*/ 765 w 980"/>
                <a:gd name="T23" fmla="*/ 584 h 701"/>
                <a:gd name="T24" fmla="*/ 828 w 980"/>
                <a:gd name="T25" fmla="*/ 584 h 701"/>
                <a:gd name="T26" fmla="*/ 828 w 980"/>
                <a:gd name="T27" fmla="*/ 461 h 701"/>
                <a:gd name="T28" fmla="*/ 980 w 980"/>
                <a:gd name="T29" fmla="*/ 461 h 701"/>
                <a:gd name="T30" fmla="*/ 490 w 980"/>
                <a:gd name="T31" fmla="*/ 0 h 701"/>
                <a:gd name="T32" fmla="*/ 0 w 980"/>
                <a:gd name="T33" fmla="*/ 461 h 701"/>
                <a:gd name="T34" fmla="*/ 91 w 980"/>
                <a:gd name="T35" fmla="*/ 461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80" h="701">
                  <a:moveTo>
                    <a:pt x="91" y="461"/>
                  </a:moveTo>
                  <a:lnTo>
                    <a:pt x="92" y="340"/>
                  </a:lnTo>
                  <a:lnTo>
                    <a:pt x="274" y="338"/>
                  </a:lnTo>
                  <a:lnTo>
                    <a:pt x="274" y="584"/>
                  </a:lnTo>
                  <a:lnTo>
                    <a:pt x="337" y="584"/>
                  </a:lnTo>
                  <a:lnTo>
                    <a:pt x="337" y="221"/>
                  </a:lnTo>
                  <a:lnTo>
                    <a:pt x="520" y="221"/>
                  </a:lnTo>
                  <a:lnTo>
                    <a:pt x="520" y="701"/>
                  </a:lnTo>
                  <a:lnTo>
                    <a:pt x="582" y="701"/>
                  </a:lnTo>
                  <a:lnTo>
                    <a:pt x="583" y="338"/>
                  </a:lnTo>
                  <a:lnTo>
                    <a:pt x="765" y="338"/>
                  </a:lnTo>
                  <a:lnTo>
                    <a:pt x="765" y="584"/>
                  </a:lnTo>
                  <a:lnTo>
                    <a:pt x="828" y="584"/>
                  </a:lnTo>
                  <a:lnTo>
                    <a:pt x="828" y="461"/>
                  </a:lnTo>
                  <a:lnTo>
                    <a:pt x="980" y="461"/>
                  </a:lnTo>
                  <a:cubicBezTo>
                    <a:pt x="965" y="204"/>
                    <a:pt x="751" y="0"/>
                    <a:pt x="490" y="0"/>
                  </a:cubicBezTo>
                  <a:cubicBezTo>
                    <a:pt x="229" y="0"/>
                    <a:pt x="15" y="204"/>
                    <a:pt x="0" y="461"/>
                  </a:cubicBezTo>
                  <a:lnTo>
                    <a:pt x="91" y="46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pSp>
        <p:nvGrpSpPr>
          <p:cNvPr id="121" name="Development" descr="{&quot;Key&quot;:&quot;POWER_USER_SHAPE_ICON&quot;,&quot;Value&quot;:&quot;POWER_USER_SHAPE_ICON_STYLE_1&quot;}">
            <a:extLst>
              <a:ext uri="{FF2B5EF4-FFF2-40B4-BE49-F238E27FC236}">
                <a16:creationId xmlns:a16="http://schemas.microsoft.com/office/drawing/2014/main" id="{1B7B78A7-F2C1-4D69-9AA3-537E77730992}"/>
              </a:ext>
            </a:extLst>
          </p:cNvPr>
          <p:cNvGrpSpPr>
            <a:grpSpLocks noChangeAspect="1"/>
          </p:cNvGrpSpPr>
          <p:nvPr>
            <p:custDataLst>
              <p:tags r:id="rId6"/>
            </p:custDataLst>
          </p:nvPr>
        </p:nvGrpSpPr>
        <p:grpSpPr bwMode="auto">
          <a:xfrm>
            <a:off x="4407706" y="4596765"/>
            <a:ext cx="677694" cy="542925"/>
            <a:chOff x="2216" y="843"/>
            <a:chExt cx="3168" cy="2538"/>
          </a:xfrm>
          <a:solidFill>
            <a:schemeClr val="accent1"/>
          </a:solidFill>
        </p:grpSpPr>
        <p:sp>
          <p:nvSpPr>
            <p:cNvPr id="122" name="Freeform 383">
              <a:extLst>
                <a:ext uri="{FF2B5EF4-FFF2-40B4-BE49-F238E27FC236}">
                  <a16:creationId xmlns:a16="http://schemas.microsoft.com/office/drawing/2014/main" id="{68DD8628-60C6-405B-8601-8402F4D14A30}"/>
                </a:ext>
              </a:extLst>
            </p:cNvPr>
            <p:cNvSpPr>
              <a:spLocks/>
            </p:cNvSpPr>
            <p:nvPr/>
          </p:nvSpPr>
          <p:spPr bwMode="auto">
            <a:xfrm>
              <a:off x="3220" y="843"/>
              <a:ext cx="1160" cy="2538"/>
            </a:xfrm>
            <a:custGeom>
              <a:avLst/>
              <a:gdLst>
                <a:gd name="T0" fmla="*/ 267 w 292"/>
                <a:gd name="T1" fmla="*/ 7 h 638"/>
                <a:gd name="T2" fmla="*/ 224 w 292"/>
                <a:gd name="T3" fmla="*/ 26 h 638"/>
                <a:gd name="T4" fmla="*/ 7 w 292"/>
                <a:gd name="T5" fmla="*/ 593 h 638"/>
                <a:gd name="T6" fmla="*/ 26 w 292"/>
                <a:gd name="T7" fmla="*/ 636 h 638"/>
                <a:gd name="T8" fmla="*/ 38 w 292"/>
                <a:gd name="T9" fmla="*/ 638 h 638"/>
                <a:gd name="T10" fmla="*/ 69 w 292"/>
                <a:gd name="T11" fmla="*/ 617 h 638"/>
                <a:gd name="T12" fmla="*/ 286 w 292"/>
                <a:gd name="T13" fmla="*/ 50 h 638"/>
                <a:gd name="T14" fmla="*/ 267 w 292"/>
                <a:gd name="T15" fmla="*/ 7 h 6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2" h="638">
                  <a:moveTo>
                    <a:pt x="267" y="7"/>
                  </a:moveTo>
                  <a:cubicBezTo>
                    <a:pt x="249" y="0"/>
                    <a:pt x="230" y="9"/>
                    <a:pt x="224" y="26"/>
                  </a:cubicBezTo>
                  <a:lnTo>
                    <a:pt x="7" y="593"/>
                  </a:lnTo>
                  <a:cubicBezTo>
                    <a:pt x="0" y="610"/>
                    <a:pt x="9" y="629"/>
                    <a:pt x="26" y="636"/>
                  </a:cubicBezTo>
                  <a:cubicBezTo>
                    <a:pt x="30" y="637"/>
                    <a:pt x="34" y="638"/>
                    <a:pt x="38" y="638"/>
                  </a:cubicBezTo>
                  <a:cubicBezTo>
                    <a:pt x="51" y="638"/>
                    <a:pt x="64" y="630"/>
                    <a:pt x="69" y="617"/>
                  </a:cubicBezTo>
                  <a:lnTo>
                    <a:pt x="286" y="50"/>
                  </a:lnTo>
                  <a:cubicBezTo>
                    <a:pt x="292" y="33"/>
                    <a:pt x="284" y="13"/>
                    <a:pt x="267" y="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23" name="Freeform 384">
              <a:extLst>
                <a:ext uri="{FF2B5EF4-FFF2-40B4-BE49-F238E27FC236}">
                  <a16:creationId xmlns:a16="http://schemas.microsoft.com/office/drawing/2014/main" id="{77C406F8-2B05-4943-A95C-14052BCAAD94}"/>
                </a:ext>
              </a:extLst>
            </p:cNvPr>
            <p:cNvSpPr>
              <a:spLocks/>
            </p:cNvSpPr>
            <p:nvPr/>
          </p:nvSpPr>
          <p:spPr bwMode="auto">
            <a:xfrm>
              <a:off x="4344" y="1440"/>
              <a:ext cx="1040" cy="1344"/>
            </a:xfrm>
            <a:custGeom>
              <a:avLst/>
              <a:gdLst>
                <a:gd name="T0" fmla="*/ 232 w 262"/>
                <a:gd name="T1" fmla="*/ 119 h 338"/>
                <a:gd name="T2" fmla="*/ 55 w 262"/>
                <a:gd name="T3" fmla="*/ 10 h 338"/>
                <a:gd name="T4" fmla="*/ 9 w 262"/>
                <a:gd name="T5" fmla="*/ 21 h 338"/>
                <a:gd name="T6" fmla="*/ 20 w 262"/>
                <a:gd name="T7" fmla="*/ 66 h 338"/>
                <a:gd name="T8" fmla="*/ 189 w 262"/>
                <a:gd name="T9" fmla="*/ 170 h 338"/>
                <a:gd name="T10" fmla="*/ 189 w 262"/>
                <a:gd name="T11" fmla="*/ 172 h 338"/>
                <a:gd name="T12" fmla="*/ 20 w 262"/>
                <a:gd name="T13" fmla="*/ 276 h 338"/>
                <a:gd name="T14" fmla="*/ 9 w 262"/>
                <a:gd name="T15" fmla="*/ 322 h 338"/>
                <a:gd name="T16" fmla="*/ 38 w 262"/>
                <a:gd name="T17" fmla="*/ 338 h 338"/>
                <a:gd name="T18" fmla="*/ 55 w 262"/>
                <a:gd name="T19" fmla="*/ 333 h 338"/>
                <a:gd name="T20" fmla="*/ 232 w 262"/>
                <a:gd name="T21" fmla="*/ 224 h 338"/>
                <a:gd name="T22" fmla="*/ 235 w 262"/>
                <a:gd name="T23" fmla="*/ 221 h 338"/>
                <a:gd name="T24" fmla="*/ 235 w 262"/>
                <a:gd name="T25" fmla="*/ 122 h 338"/>
                <a:gd name="T26" fmla="*/ 232 w 262"/>
                <a:gd name="T27" fmla="*/ 119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2" h="338">
                  <a:moveTo>
                    <a:pt x="232" y="119"/>
                  </a:moveTo>
                  <a:lnTo>
                    <a:pt x="55" y="10"/>
                  </a:lnTo>
                  <a:cubicBezTo>
                    <a:pt x="39" y="0"/>
                    <a:pt x="19" y="5"/>
                    <a:pt x="9" y="21"/>
                  </a:cubicBezTo>
                  <a:cubicBezTo>
                    <a:pt x="0" y="36"/>
                    <a:pt x="4" y="57"/>
                    <a:pt x="20" y="66"/>
                  </a:cubicBezTo>
                  <a:lnTo>
                    <a:pt x="189" y="170"/>
                  </a:lnTo>
                  <a:cubicBezTo>
                    <a:pt x="189" y="171"/>
                    <a:pt x="189" y="172"/>
                    <a:pt x="189" y="172"/>
                  </a:cubicBezTo>
                  <a:lnTo>
                    <a:pt x="20" y="276"/>
                  </a:lnTo>
                  <a:cubicBezTo>
                    <a:pt x="4" y="286"/>
                    <a:pt x="0" y="306"/>
                    <a:pt x="9" y="322"/>
                  </a:cubicBezTo>
                  <a:cubicBezTo>
                    <a:pt x="16" y="332"/>
                    <a:pt x="27" y="338"/>
                    <a:pt x="38" y="338"/>
                  </a:cubicBezTo>
                  <a:cubicBezTo>
                    <a:pt x="44" y="338"/>
                    <a:pt x="50" y="336"/>
                    <a:pt x="55" y="333"/>
                  </a:cubicBezTo>
                  <a:lnTo>
                    <a:pt x="232" y="224"/>
                  </a:lnTo>
                  <a:lnTo>
                    <a:pt x="235" y="221"/>
                  </a:lnTo>
                  <a:cubicBezTo>
                    <a:pt x="262" y="194"/>
                    <a:pt x="262" y="149"/>
                    <a:pt x="235" y="122"/>
                  </a:cubicBezTo>
                  <a:lnTo>
                    <a:pt x="232" y="11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24" name="Freeform 385">
              <a:extLst>
                <a:ext uri="{FF2B5EF4-FFF2-40B4-BE49-F238E27FC236}">
                  <a16:creationId xmlns:a16="http://schemas.microsoft.com/office/drawing/2014/main" id="{1A6A2B46-3DFD-4641-BDE2-3E78517B5600}"/>
                </a:ext>
              </a:extLst>
            </p:cNvPr>
            <p:cNvSpPr>
              <a:spLocks/>
            </p:cNvSpPr>
            <p:nvPr/>
          </p:nvSpPr>
          <p:spPr bwMode="auto">
            <a:xfrm>
              <a:off x="2216" y="1440"/>
              <a:ext cx="1044" cy="1344"/>
            </a:xfrm>
            <a:custGeom>
              <a:avLst/>
              <a:gdLst>
                <a:gd name="T0" fmla="*/ 242 w 263"/>
                <a:gd name="T1" fmla="*/ 276 h 338"/>
                <a:gd name="T2" fmla="*/ 74 w 263"/>
                <a:gd name="T3" fmla="*/ 172 h 338"/>
                <a:gd name="T4" fmla="*/ 74 w 263"/>
                <a:gd name="T5" fmla="*/ 170 h 338"/>
                <a:gd name="T6" fmla="*/ 242 w 263"/>
                <a:gd name="T7" fmla="*/ 66 h 338"/>
                <a:gd name="T8" fmla="*/ 253 w 263"/>
                <a:gd name="T9" fmla="*/ 21 h 338"/>
                <a:gd name="T10" fmla="*/ 208 w 263"/>
                <a:gd name="T11" fmla="*/ 10 h 338"/>
                <a:gd name="T12" fmla="*/ 30 w 263"/>
                <a:gd name="T13" fmla="*/ 119 h 338"/>
                <a:gd name="T14" fmla="*/ 28 w 263"/>
                <a:gd name="T15" fmla="*/ 122 h 338"/>
                <a:gd name="T16" fmla="*/ 28 w 263"/>
                <a:gd name="T17" fmla="*/ 221 h 338"/>
                <a:gd name="T18" fmla="*/ 30 w 263"/>
                <a:gd name="T19" fmla="*/ 224 h 338"/>
                <a:gd name="T20" fmla="*/ 208 w 263"/>
                <a:gd name="T21" fmla="*/ 333 h 338"/>
                <a:gd name="T22" fmla="*/ 225 w 263"/>
                <a:gd name="T23" fmla="*/ 338 h 338"/>
                <a:gd name="T24" fmla="*/ 253 w 263"/>
                <a:gd name="T25" fmla="*/ 322 h 338"/>
                <a:gd name="T26" fmla="*/ 242 w 263"/>
                <a:gd name="T27" fmla="*/ 276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3" h="338">
                  <a:moveTo>
                    <a:pt x="242" y="276"/>
                  </a:moveTo>
                  <a:lnTo>
                    <a:pt x="74" y="172"/>
                  </a:lnTo>
                  <a:cubicBezTo>
                    <a:pt x="74" y="172"/>
                    <a:pt x="74" y="171"/>
                    <a:pt x="74" y="170"/>
                  </a:cubicBezTo>
                  <a:lnTo>
                    <a:pt x="242" y="66"/>
                  </a:lnTo>
                  <a:cubicBezTo>
                    <a:pt x="258" y="57"/>
                    <a:pt x="263" y="36"/>
                    <a:pt x="253" y="21"/>
                  </a:cubicBezTo>
                  <a:cubicBezTo>
                    <a:pt x="244" y="5"/>
                    <a:pt x="223" y="0"/>
                    <a:pt x="208" y="10"/>
                  </a:cubicBezTo>
                  <a:lnTo>
                    <a:pt x="30" y="119"/>
                  </a:lnTo>
                  <a:lnTo>
                    <a:pt x="28" y="122"/>
                  </a:lnTo>
                  <a:cubicBezTo>
                    <a:pt x="0" y="149"/>
                    <a:pt x="0" y="194"/>
                    <a:pt x="28" y="221"/>
                  </a:cubicBezTo>
                  <a:lnTo>
                    <a:pt x="30" y="224"/>
                  </a:lnTo>
                  <a:lnTo>
                    <a:pt x="208" y="333"/>
                  </a:lnTo>
                  <a:cubicBezTo>
                    <a:pt x="213" y="336"/>
                    <a:pt x="219" y="338"/>
                    <a:pt x="225" y="338"/>
                  </a:cubicBezTo>
                  <a:cubicBezTo>
                    <a:pt x="236" y="338"/>
                    <a:pt x="247" y="332"/>
                    <a:pt x="253" y="322"/>
                  </a:cubicBezTo>
                  <a:cubicBezTo>
                    <a:pt x="263" y="306"/>
                    <a:pt x="258" y="286"/>
                    <a:pt x="242" y="27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126" name="TextBox 125">
            <a:extLst>
              <a:ext uri="{FF2B5EF4-FFF2-40B4-BE49-F238E27FC236}">
                <a16:creationId xmlns:a16="http://schemas.microsoft.com/office/drawing/2014/main" id="{7FD8CE02-160F-4D26-A184-6A47B5BA02D3}"/>
              </a:ext>
            </a:extLst>
          </p:cNvPr>
          <p:cNvSpPr txBox="1"/>
          <p:nvPr/>
        </p:nvSpPr>
        <p:spPr>
          <a:xfrm>
            <a:off x="5574556" y="4259209"/>
            <a:ext cx="2954655" cy="1754326"/>
          </a:xfrm>
          <a:prstGeom prst="rect">
            <a:avLst/>
          </a:prstGeom>
          <a:noFill/>
        </p:spPr>
        <p:txBody>
          <a:bodyPr wrap="none" rtlCol="0">
            <a:spAutoFit/>
          </a:bodyPr>
          <a:lstStyle/>
          <a:p>
            <a:r>
              <a:rPr lang="en-CA" b="1" dirty="0"/>
              <a:t>Prepared By</a:t>
            </a:r>
            <a:r>
              <a:rPr lang="en-CA" dirty="0"/>
              <a:t>:</a:t>
            </a:r>
          </a:p>
          <a:p>
            <a:r>
              <a:rPr lang="en-CA" dirty="0"/>
              <a:t>Ahmad Barakat 	</a:t>
            </a:r>
          </a:p>
          <a:p>
            <a:r>
              <a:rPr lang="en-CA" dirty="0" err="1"/>
              <a:t>Pruthvi</a:t>
            </a:r>
            <a:r>
              <a:rPr lang="en-CA" dirty="0"/>
              <a:t> </a:t>
            </a:r>
            <a:r>
              <a:rPr lang="en-CA" dirty="0" err="1"/>
              <a:t>Ingole</a:t>
            </a:r>
            <a:r>
              <a:rPr lang="en-CA" dirty="0"/>
              <a:t> 		</a:t>
            </a:r>
          </a:p>
          <a:p>
            <a:r>
              <a:rPr lang="en-CA" dirty="0"/>
              <a:t>Roshan </a:t>
            </a:r>
            <a:r>
              <a:rPr lang="en-CA" dirty="0" err="1"/>
              <a:t>Issac</a:t>
            </a:r>
            <a:r>
              <a:rPr lang="en-CA" dirty="0"/>
              <a:t> 		</a:t>
            </a:r>
          </a:p>
          <a:p>
            <a:r>
              <a:rPr lang="en-CA" dirty="0"/>
              <a:t>Monika </a:t>
            </a:r>
            <a:r>
              <a:rPr lang="en-CA" dirty="0" err="1"/>
              <a:t>Slominski</a:t>
            </a:r>
            <a:r>
              <a:rPr lang="en-CA" dirty="0"/>
              <a:t> 	</a:t>
            </a:r>
          </a:p>
          <a:p>
            <a:endParaRPr lang="en-CA" dirty="0"/>
          </a:p>
        </p:txBody>
      </p:sp>
      <p:pic>
        <p:nvPicPr>
          <p:cNvPr id="14" name="Graphic 13" descr="Tools">
            <a:extLst>
              <a:ext uri="{FF2B5EF4-FFF2-40B4-BE49-F238E27FC236}">
                <a16:creationId xmlns:a16="http://schemas.microsoft.com/office/drawing/2014/main" id="{F2F730BD-6263-4B09-A574-95206B0598A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62129" y="1318941"/>
            <a:ext cx="612000" cy="612000"/>
          </a:xfrm>
          <a:prstGeom prst="rect">
            <a:avLst/>
          </a:prstGeom>
        </p:spPr>
      </p:pic>
      <p:pic>
        <p:nvPicPr>
          <p:cNvPr id="26" name="Graphic 25" descr="Electrician">
            <a:extLst>
              <a:ext uri="{FF2B5EF4-FFF2-40B4-BE49-F238E27FC236}">
                <a16:creationId xmlns:a16="http://schemas.microsoft.com/office/drawing/2014/main" id="{9A922B72-9C07-4E6B-BF5F-04EB620FF53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751341" y="1318941"/>
            <a:ext cx="612000" cy="612000"/>
          </a:xfrm>
          <a:prstGeom prst="rect">
            <a:avLst/>
          </a:prstGeom>
        </p:spPr>
      </p:pic>
      <p:pic>
        <p:nvPicPr>
          <p:cNvPr id="28" name="Graphic 27" descr="Daily calendar">
            <a:extLst>
              <a:ext uri="{FF2B5EF4-FFF2-40B4-BE49-F238E27FC236}">
                <a16:creationId xmlns:a16="http://schemas.microsoft.com/office/drawing/2014/main" id="{82CB30D0-4A3E-4951-99B9-0C9D9BF7895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440553" y="1318941"/>
            <a:ext cx="612000" cy="612000"/>
          </a:xfrm>
          <a:prstGeom prst="rect">
            <a:avLst/>
          </a:prstGeom>
        </p:spPr>
      </p:pic>
    </p:spTree>
    <p:extLst>
      <p:ext uri="{BB962C8B-B14F-4D97-AF65-F5344CB8AC3E}">
        <p14:creationId xmlns:p14="http://schemas.microsoft.com/office/powerpoint/2010/main" val="39827253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7" name="Picture Placeholder 6" descr="A picture containing object, engine, indoor, man&#10;&#10;Description automatically generated">
            <a:extLst>
              <a:ext uri="{FF2B5EF4-FFF2-40B4-BE49-F238E27FC236}">
                <a16:creationId xmlns:a16="http://schemas.microsoft.com/office/drawing/2014/main" id="{7FEB842B-3580-4945-B1E6-32C9F50CB935}"/>
              </a:ext>
            </a:extLst>
          </p:cNvPr>
          <p:cNvPicPr>
            <a:picLocks noGrp="1" noChangeAspect="1"/>
          </p:cNvPicPr>
          <p:nvPr>
            <p:ph type="pic" sz="quarter" idx="13"/>
          </p:nvPr>
        </p:nvPicPr>
        <p:blipFill>
          <a:blip r:embed="rId2"/>
          <a:srcRect l="14074" r="14074"/>
          <a:stretch>
            <a:fillRect/>
          </a:stretch>
        </p:blipFill>
        <p:spPr/>
      </p:pic>
      <p:sp>
        <p:nvSpPr>
          <p:cNvPr id="22" name="TextBox 21">
            <a:extLst>
              <a:ext uri="{FF2B5EF4-FFF2-40B4-BE49-F238E27FC236}">
                <a16:creationId xmlns:a16="http://schemas.microsoft.com/office/drawing/2014/main" id="{293B596F-28A4-CD4F-AFB1-B19689435B95}"/>
              </a:ext>
            </a:extLst>
          </p:cNvPr>
          <p:cNvSpPr txBox="1"/>
          <p:nvPr/>
        </p:nvSpPr>
        <p:spPr>
          <a:xfrm flipH="1">
            <a:off x="6344699" y="1448369"/>
            <a:ext cx="5571531" cy="4278094"/>
          </a:xfrm>
          <a:prstGeom prst="rect">
            <a:avLst/>
          </a:prstGeom>
          <a:noFill/>
        </p:spPr>
        <p:txBody>
          <a:bodyPr wrap="square" rtlCol="0">
            <a:spAutoFit/>
          </a:bodyPr>
          <a:lstStyle/>
          <a:p>
            <a:pPr algn="just"/>
            <a:r>
              <a:rPr lang="en-US" sz="1600" dirty="0">
                <a:latin typeface="+mj-lt"/>
                <a:ea typeface="Open Sans" panose="020B0606030504020204" pitchFamily="34" charset="0"/>
                <a:cs typeface="Open Sans" panose="020B0606030504020204" pitchFamily="34" charset="0"/>
              </a:rPr>
              <a:t>Maintenance management is an important part of well-functioning production and becomes very crucial for companies that carry critical operations and require its assets (equipment) </a:t>
            </a:r>
            <a:r>
              <a:rPr lang="en-CA" sz="1600" dirty="0"/>
              <a:t>running at peak efficiency </a:t>
            </a:r>
            <a:r>
              <a:rPr lang="en-US" sz="1600" dirty="0">
                <a:latin typeface="+mj-lt"/>
                <a:ea typeface="Open Sans" panose="020B0606030504020204" pitchFamily="34" charset="0"/>
                <a:cs typeface="Open Sans" panose="020B0606030504020204" pitchFamily="34" charset="0"/>
              </a:rPr>
              <a:t> without any. Thus, preventive and predicative maintenance play huge role in preventing emergency shutdowns.  </a:t>
            </a:r>
          </a:p>
          <a:p>
            <a:pPr algn="just"/>
            <a:r>
              <a:rPr lang="en-US" sz="1600" dirty="0">
                <a:latin typeface="+mj-lt"/>
                <a:ea typeface="Open Sans" panose="020B0606030504020204" pitchFamily="34" charset="0"/>
                <a:cs typeface="Open Sans" panose="020B0606030504020204" pitchFamily="34" charset="0"/>
              </a:rPr>
              <a:t> </a:t>
            </a:r>
          </a:p>
          <a:p>
            <a:pPr algn="just"/>
            <a:r>
              <a:rPr lang="en-US" sz="1600" dirty="0">
                <a:latin typeface="+mj-lt"/>
                <a:ea typeface="Open Sans" panose="020B0606030504020204" pitchFamily="34" charset="0"/>
                <a:cs typeface="Open Sans" panose="020B0606030504020204" pitchFamily="34" charset="0"/>
              </a:rPr>
              <a:t>The purpose of this project is to design and develop an intelligent maintenance scheduling system power by AI to:</a:t>
            </a:r>
          </a:p>
          <a:p>
            <a:pPr algn="just"/>
            <a:endParaRPr lang="en-US" sz="1600" dirty="0">
              <a:latin typeface="+mj-lt"/>
              <a:ea typeface="Open Sans" panose="020B0606030504020204" pitchFamily="34" charset="0"/>
              <a:cs typeface="Open Sans" panose="020B0606030504020204" pitchFamily="34" charset="0"/>
            </a:endParaRPr>
          </a:p>
          <a:p>
            <a:pPr marL="285750" indent="-285750" algn="just">
              <a:buFont typeface="Arial" panose="020B0604020202020204" pitchFamily="34" charset="0"/>
              <a:buChar char="•"/>
            </a:pPr>
            <a:r>
              <a:rPr lang="en-US" sz="1600" dirty="0">
                <a:latin typeface="+mj-lt"/>
                <a:ea typeface="Open Sans" panose="020B0606030504020204" pitchFamily="34" charset="0"/>
                <a:cs typeface="Open Sans" panose="020B0606030504020204" pitchFamily="34" charset="0"/>
              </a:rPr>
              <a:t>Estimate the remaining useful life of and equipment;</a:t>
            </a:r>
          </a:p>
          <a:p>
            <a:pPr marL="285750" indent="-285750" algn="just">
              <a:buFont typeface="Arial" panose="020B0604020202020204" pitchFamily="34" charset="0"/>
              <a:buChar char="•"/>
            </a:pPr>
            <a:r>
              <a:rPr lang="en-US" sz="1600" dirty="0">
                <a:latin typeface="+mj-lt"/>
                <a:ea typeface="Open Sans" panose="020B0606030504020204" pitchFamily="34" charset="0"/>
                <a:cs typeface="Open Sans" panose="020B0606030504020204" pitchFamily="34" charset="0"/>
              </a:rPr>
              <a:t>Predict the probability of an equipment fail within the next 30 days;</a:t>
            </a:r>
          </a:p>
          <a:p>
            <a:pPr marL="285750" indent="-285750" algn="just">
              <a:buFont typeface="Arial" panose="020B0604020202020204" pitchFamily="34" charset="0"/>
              <a:buChar char="•"/>
            </a:pPr>
            <a:r>
              <a:rPr lang="en-US" sz="1600" dirty="0">
                <a:latin typeface="+mj-lt"/>
                <a:ea typeface="Open Sans" panose="020B0606030504020204" pitchFamily="34" charset="0"/>
                <a:cs typeface="Open Sans" panose="020B0606030504020204" pitchFamily="34" charset="0"/>
              </a:rPr>
              <a:t>Mimic the decision-making of maintenance experts to enable the scheduling engine easily schedule repair requests, to reduce operation risks and system breakdowns.</a:t>
            </a:r>
          </a:p>
          <a:p>
            <a:pPr algn="just"/>
            <a:r>
              <a:rPr lang="en-US" sz="1600" dirty="0">
                <a:latin typeface="+mj-lt"/>
                <a:ea typeface="Open Sans" panose="020B0606030504020204" pitchFamily="34" charset="0"/>
                <a:cs typeface="Open Sans" panose="020B0606030504020204" pitchFamily="34" charset="0"/>
              </a:rPr>
              <a:t> </a:t>
            </a:r>
          </a:p>
        </p:txBody>
      </p:sp>
      <p:sp>
        <p:nvSpPr>
          <p:cNvPr id="67" name="Rectangle 66">
            <a:extLst>
              <a:ext uri="{FF2B5EF4-FFF2-40B4-BE49-F238E27FC236}">
                <a16:creationId xmlns:a16="http://schemas.microsoft.com/office/drawing/2014/main" id="{63621558-D7BE-D947-8E31-18D748B0C8D8}"/>
              </a:ext>
            </a:extLst>
          </p:cNvPr>
          <p:cNvSpPr/>
          <p:nvPr/>
        </p:nvSpPr>
        <p:spPr>
          <a:xfrm>
            <a:off x="7054776" y="298500"/>
            <a:ext cx="3915239" cy="584775"/>
          </a:xfrm>
          <a:prstGeom prst="rect">
            <a:avLst/>
          </a:prstGeom>
        </p:spPr>
        <p:txBody>
          <a:bodyPr wrap="none">
            <a:spAutoFit/>
          </a:bodyPr>
          <a:lstStyle/>
          <a:p>
            <a:pPr algn="ctr"/>
            <a:r>
              <a:rPr lang="en-US" sz="3200" b="1" dirty="0">
                <a:gradFill>
                  <a:gsLst>
                    <a:gs pos="0">
                      <a:schemeClr val="accent1"/>
                    </a:gs>
                    <a:gs pos="100000">
                      <a:schemeClr val="accent3"/>
                    </a:gs>
                  </a:gsLst>
                  <a:lin ang="0" scaled="1"/>
                </a:gradFill>
              </a:rPr>
              <a:t>EXECUTIVE</a:t>
            </a:r>
            <a:r>
              <a:rPr lang="en-US" sz="3200" dirty="0"/>
              <a:t> </a:t>
            </a:r>
            <a:r>
              <a:rPr lang="en-US" sz="3200" dirty="0">
                <a:latin typeface="+mj-lt"/>
              </a:rPr>
              <a:t>SUMMARY</a:t>
            </a:r>
          </a:p>
        </p:txBody>
      </p:sp>
      <p:grpSp>
        <p:nvGrpSpPr>
          <p:cNvPr id="189" name="Group 188">
            <a:extLst>
              <a:ext uri="{FF2B5EF4-FFF2-40B4-BE49-F238E27FC236}">
                <a16:creationId xmlns:a16="http://schemas.microsoft.com/office/drawing/2014/main" id="{1B4E6CB7-8EA1-F34D-B356-C27D04B76545}"/>
              </a:ext>
            </a:extLst>
          </p:cNvPr>
          <p:cNvGrpSpPr>
            <a:grpSpLocks noChangeAspect="1"/>
          </p:cNvGrpSpPr>
          <p:nvPr/>
        </p:nvGrpSpPr>
        <p:grpSpPr>
          <a:xfrm>
            <a:off x="8894325" y="1134569"/>
            <a:ext cx="236140" cy="62506"/>
            <a:chOff x="3469621" y="1357388"/>
            <a:chExt cx="506185" cy="133990"/>
          </a:xfrm>
        </p:grpSpPr>
        <p:sp>
          <p:nvSpPr>
            <p:cNvPr id="190" name="Rounded Rectangle 189">
              <a:extLst>
                <a:ext uri="{FF2B5EF4-FFF2-40B4-BE49-F238E27FC236}">
                  <a16:creationId xmlns:a16="http://schemas.microsoft.com/office/drawing/2014/main" id="{2113FE91-3340-854A-B18F-AE0B4C01C61C}"/>
                </a:ext>
              </a:extLst>
            </p:cNvPr>
            <p:cNvSpPr/>
            <p:nvPr/>
          </p:nvSpPr>
          <p:spPr>
            <a:xfrm>
              <a:off x="3469621" y="1357388"/>
              <a:ext cx="133990" cy="13399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1" name="Rounded Rectangle 190">
              <a:extLst>
                <a:ext uri="{FF2B5EF4-FFF2-40B4-BE49-F238E27FC236}">
                  <a16:creationId xmlns:a16="http://schemas.microsoft.com/office/drawing/2014/main" id="{6AEC2565-7DC7-094D-B16A-6DAF662B518B}"/>
                </a:ext>
              </a:extLst>
            </p:cNvPr>
            <p:cNvSpPr/>
            <p:nvPr/>
          </p:nvSpPr>
          <p:spPr>
            <a:xfrm>
              <a:off x="3655719" y="1357388"/>
              <a:ext cx="133990" cy="13399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2" name="Rounded Rectangle 191">
              <a:extLst>
                <a:ext uri="{FF2B5EF4-FFF2-40B4-BE49-F238E27FC236}">
                  <a16:creationId xmlns:a16="http://schemas.microsoft.com/office/drawing/2014/main" id="{A140ABD9-4EF0-2546-B7C1-D86D5ED20295}"/>
                </a:ext>
              </a:extLst>
            </p:cNvPr>
            <p:cNvSpPr/>
            <p:nvPr/>
          </p:nvSpPr>
          <p:spPr>
            <a:xfrm>
              <a:off x="3841816" y="1357388"/>
              <a:ext cx="133990" cy="133990"/>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 name="Oval 7">
            <a:extLst>
              <a:ext uri="{FF2B5EF4-FFF2-40B4-BE49-F238E27FC236}">
                <a16:creationId xmlns:a16="http://schemas.microsoft.com/office/drawing/2014/main" id="{E769780F-C2FD-4C71-9AFF-8926624BF753}"/>
              </a:ext>
            </a:extLst>
          </p:cNvPr>
          <p:cNvSpPr/>
          <p:nvPr/>
        </p:nvSpPr>
        <p:spPr>
          <a:xfrm>
            <a:off x="6368718" y="3946349"/>
            <a:ext cx="252000" cy="252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b="1" dirty="0"/>
              <a:t>1</a:t>
            </a:r>
          </a:p>
        </p:txBody>
      </p:sp>
      <p:sp>
        <p:nvSpPr>
          <p:cNvPr id="21" name="Oval 20">
            <a:extLst>
              <a:ext uri="{FF2B5EF4-FFF2-40B4-BE49-F238E27FC236}">
                <a16:creationId xmlns:a16="http://schemas.microsoft.com/office/drawing/2014/main" id="{6828696D-BCC5-41AF-B8F6-C2E5808875CB}"/>
              </a:ext>
            </a:extLst>
          </p:cNvPr>
          <p:cNvSpPr/>
          <p:nvPr/>
        </p:nvSpPr>
        <p:spPr>
          <a:xfrm>
            <a:off x="6368718" y="4243865"/>
            <a:ext cx="252000" cy="252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b="1" dirty="0"/>
              <a:t>2</a:t>
            </a:r>
          </a:p>
        </p:txBody>
      </p:sp>
      <p:sp>
        <p:nvSpPr>
          <p:cNvPr id="23" name="Oval 22">
            <a:extLst>
              <a:ext uri="{FF2B5EF4-FFF2-40B4-BE49-F238E27FC236}">
                <a16:creationId xmlns:a16="http://schemas.microsoft.com/office/drawing/2014/main" id="{BB1E797F-114A-437D-8F63-51D2F883A723}"/>
              </a:ext>
            </a:extLst>
          </p:cNvPr>
          <p:cNvSpPr/>
          <p:nvPr/>
        </p:nvSpPr>
        <p:spPr>
          <a:xfrm>
            <a:off x="6368718" y="4747512"/>
            <a:ext cx="252000" cy="252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b="1" dirty="0"/>
              <a:t>3</a:t>
            </a:r>
          </a:p>
        </p:txBody>
      </p:sp>
      <p:sp>
        <p:nvSpPr>
          <p:cNvPr id="29" name="Rounded Rectangle 11">
            <a:extLst>
              <a:ext uri="{FF2B5EF4-FFF2-40B4-BE49-F238E27FC236}">
                <a16:creationId xmlns:a16="http://schemas.microsoft.com/office/drawing/2014/main" id="{0596A713-7779-4312-9549-A36294D5D872}"/>
              </a:ext>
            </a:extLst>
          </p:cNvPr>
          <p:cNvSpPr/>
          <p:nvPr/>
        </p:nvSpPr>
        <p:spPr>
          <a:xfrm>
            <a:off x="10195505" y="6547461"/>
            <a:ext cx="1604909" cy="223331"/>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ounded Rectangle 82">
            <a:extLst>
              <a:ext uri="{FF2B5EF4-FFF2-40B4-BE49-F238E27FC236}">
                <a16:creationId xmlns:a16="http://schemas.microsoft.com/office/drawing/2014/main" id="{F31C0596-B0E4-4D56-AF97-A02D9407AEDD}"/>
              </a:ext>
            </a:extLst>
          </p:cNvPr>
          <p:cNvSpPr/>
          <p:nvPr/>
        </p:nvSpPr>
        <p:spPr>
          <a:xfrm>
            <a:off x="11532603" y="6547461"/>
            <a:ext cx="569026" cy="223331"/>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Slide Number Placeholder 24">
            <a:extLst>
              <a:ext uri="{FF2B5EF4-FFF2-40B4-BE49-F238E27FC236}">
                <a16:creationId xmlns:a16="http://schemas.microsoft.com/office/drawing/2014/main" id="{9018FB15-C9B2-4FD8-AA44-C3EDA8A7E570}"/>
              </a:ext>
            </a:extLst>
          </p:cNvPr>
          <p:cNvSpPr>
            <a:spLocks noGrp="1"/>
          </p:cNvSpPr>
          <p:nvPr>
            <p:ph type="sldNum" sz="quarter" idx="12"/>
          </p:nvPr>
        </p:nvSpPr>
        <p:spPr>
          <a:xfrm>
            <a:off x="11573685" y="6476563"/>
            <a:ext cx="486861" cy="365125"/>
          </a:xfrm>
        </p:spPr>
        <p:txBody>
          <a:bodyPr/>
          <a:lstStyle/>
          <a:p>
            <a:fld id="{3BA69586-E6B3-B646-96E5-E7A8350A3CCE}" type="slidenum">
              <a:rPr lang="en-US" smtClean="0">
                <a:solidFill>
                  <a:srgbClr val="FFFFFF"/>
                </a:solidFill>
              </a:rPr>
              <a:pPr/>
              <a:t>2</a:t>
            </a:fld>
            <a:endParaRPr lang="en-US" dirty="0">
              <a:solidFill>
                <a:srgbClr val="FFFFFF"/>
              </a:solidFill>
            </a:endParaRPr>
          </a:p>
        </p:txBody>
      </p:sp>
      <p:sp>
        <p:nvSpPr>
          <p:cNvPr id="32" name="TextBox 31">
            <a:extLst>
              <a:ext uri="{FF2B5EF4-FFF2-40B4-BE49-F238E27FC236}">
                <a16:creationId xmlns:a16="http://schemas.microsoft.com/office/drawing/2014/main" id="{727D1944-9F0C-4C05-829F-B0EF25E91151}"/>
              </a:ext>
            </a:extLst>
          </p:cNvPr>
          <p:cNvSpPr txBox="1"/>
          <p:nvPr/>
        </p:nvSpPr>
        <p:spPr>
          <a:xfrm>
            <a:off x="10252396" y="6536016"/>
            <a:ext cx="1289135" cy="230832"/>
          </a:xfrm>
          <a:prstGeom prst="rect">
            <a:avLst/>
          </a:prstGeom>
          <a:noFill/>
        </p:spPr>
        <p:txBody>
          <a:bodyPr wrap="none" rtlCol="0">
            <a:spAutoFit/>
          </a:bodyPr>
          <a:lstStyle/>
          <a:p>
            <a:pPr algn="ctr"/>
            <a:r>
              <a:rPr lang="en-US" sz="900" dirty="0">
                <a:solidFill>
                  <a:srgbClr val="FFFFFF"/>
                </a:solidFill>
                <a:latin typeface="+mj-lt"/>
                <a:ea typeface="Open Sans" panose="020B0606030504020204" pitchFamily="34" charset="0"/>
                <a:cs typeface="Open Sans" panose="020B0606030504020204" pitchFamily="34" charset="0"/>
              </a:rPr>
              <a:t>Predictive Maintenance</a:t>
            </a:r>
          </a:p>
        </p:txBody>
      </p:sp>
    </p:spTree>
    <p:extLst>
      <p:ext uri="{BB962C8B-B14F-4D97-AF65-F5344CB8AC3E}">
        <p14:creationId xmlns:p14="http://schemas.microsoft.com/office/powerpoint/2010/main" val="3853759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 name="Rounded Rectangle 11">
            <a:extLst>
              <a:ext uri="{FF2B5EF4-FFF2-40B4-BE49-F238E27FC236}">
                <a16:creationId xmlns:a16="http://schemas.microsoft.com/office/drawing/2014/main" id="{695A1F62-75E4-4266-9CF1-CDF1988FDCCE}"/>
              </a:ext>
            </a:extLst>
          </p:cNvPr>
          <p:cNvSpPr/>
          <p:nvPr/>
        </p:nvSpPr>
        <p:spPr>
          <a:xfrm>
            <a:off x="10195505" y="6547461"/>
            <a:ext cx="1604909" cy="223331"/>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a:extLst>
              <a:ext uri="{FF2B5EF4-FFF2-40B4-BE49-F238E27FC236}">
                <a16:creationId xmlns:a16="http://schemas.microsoft.com/office/drawing/2014/main" id="{ECE01D27-56F4-6141-9DF8-ABA3954046FB}"/>
              </a:ext>
            </a:extLst>
          </p:cNvPr>
          <p:cNvSpPr txBox="1"/>
          <p:nvPr/>
        </p:nvSpPr>
        <p:spPr>
          <a:xfrm flipH="1">
            <a:off x="352243" y="575829"/>
            <a:ext cx="2528064" cy="276999"/>
          </a:xfrm>
          <a:prstGeom prst="rect">
            <a:avLst/>
          </a:prstGeom>
          <a:noFill/>
        </p:spPr>
        <p:txBody>
          <a:bodyPr wrap="none" rtlCol="0">
            <a:spAutoFit/>
          </a:bodyPr>
          <a:lstStyle/>
          <a:p>
            <a:r>
              <a:rPr lang="en-US" sz="1200" dirty="0">
                <a:solidFill>
                  <a:schemeClr val="tx1">
                    <a:alpha val="70000"/>
                  </a:schemeClr>
                </a:solidFill>
                <a:ea typeface="Open Sans" panose="020B0606030504020204" pitchFamily="34" charset="0"/>
                <a:cs typeface="Open Sans" panose="020B0606030504020204" pitchFamily="34" charset="0"/>
              </a:rPr>
              <a:t>High Level Model Design Architecture</a:t>
            </a:r>
          </a:p>
        </p:txBody>
      </p:sp>
      <p:sp>
        <p:nvSpPr>
          <p:cNvPr id="83" name="Rounded Rectangle 82">
            <a:extLst>
              <a:ext uri="{FF2B5EF4-FFF2-40B4-BE49-F238E27FC236}">
                <a16:creationId xmlns:a16="http://schemas.microsoft.com/office/drawing/2014/main" id="{F1A96734-3639-6944-AD71-1C8573B6A927}"/>
              </a:ext>
            </a:extLst>
          </p:cNvPr>
          <p:cNvSpPr/>
          <p:nvPr/>
        </p:nvSpPr>
        <p:spPr>
          <a:xfrm>
            <a:off x="11532603" y="6547461"/>
            <a:ext cx="569026" cy="223331"/>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5" name="Slide Number Placeholder 24">
            <a:extLst>
              <a:ext uri="{FF2B5EF4-FFF2-40B4-BE49-F238E27FC236}">
                <a16:creationId xmlns:a16="http://schemas.microsoft.com/office/drawing/2014/main" id="{4F64A582-A733-F74D-8BEE-DA3CE7A48D13}"/>
              </a:ext>
            </a:extLst>
          </p:cNvPr>
          <p:cNvSpPr>
            <a:spLocks noGrp="1"/>
          </p:cNvSpPr>
          <p:nvPr>
            <p:ph type="sldNum" sz="quarter" idx="12"/>
          </p:nvPr>
        </p:nvSpPr>
        <p:spPr>
          <a:xfrm>
            <a:off x="11573685" y="6476563"/>
            <a:ext cx="486861" cy="365125"/>
          </a:xfrm>
        </p:spPr>
        <p:txBody>
          <a:bodyPr/>
          <a:lstStyle/>
          <a:p>
            <a:fld id="{3BA69586-E6B3-B646-96E5-E7A8350A3CCE}" type="slidenum">
              <a:rPr lang="en-US" smtClean="0">
                <a:solidFill>
                  <a:srgbClr val="FFFFFF"/>
                </a:solidFill>
              </a:rPr>
              <a:pPr/>
              <a:t>3</a:t>
            </a:fld>
            <a:endParaRPr lang="en-US" dirty="0">
              <a:solidFill>
                <a:srgbClr val="FFFFFF"/>
              </a:solidFill>
            </a:endParaRPr>
          </a:p>
        </p:txBody>
      </p:sp>
      <p:sp>
        <p:nvSpPr>
          <p:cNvPr id="86" name="Rectangle 85">
            <a:extLst>
              <a:ext uri="{FF2B5EF4-FFF2-40B4-BE49-F238E27FC236}">
                <a16:creationId xmlns:a16="http://schemas.microsoft.com/office/drawing/2014/main" id="{D774036E-3339-6B45-8F33-FB7319BC8FAC}"/>
              </a:ext>
            </a:extLst>
          </p:cNvPr>
          <p:cNvSpPr/>
          <p:nvPr/>
        </p:nvSpPr>
        <p:spPr>
          <a:xfrm>
            <a:off x="352242" y="109808"/>
            <a:ext cx="3425874" cy="584775"/>
          </a:xfrm>
          <a:prstGeom prst="rect">
            <a:avLst/>
          </a:prstGeom>
        </p:spPr>
        <p:txBody>
          <a:bodyPr wrap="none">
            <a:spAutoFit/>
          </a:bodyPr>
          <a:lstStyle/>
          <a:p>
            <a:r>
              <a:rPr lang="en-US" sz="3200" b="1" dirty="0">
                <a:gradFill>
                  <a:gsLst>
                    <a:gs pos="0">
                      <a:schemeClr val="accent1"/>
                    </a:gs>
                    <a:gs pos="100000">
                      <a:schemeClr val="accent3"/>
                    </a:gs>
                  </a:gsLst>
                  <a:lin ang="0" scaled="1"/>
                </a:gradFill>
              </a:rPr>
              <a:t>Model</a:t>
            </a:r>
            <a:r>
              <a:rPr lang="en-US" sz="3200" dirty="0"/>
              <a:t> </a:t>
            </a:r>
            <a:r>
              <a:rPr lang="en-US" sz="3200" dirty="0">
                <a:latin typeface="+mj-lt"/>
              </a:rPr>
              <a:t>Architecture</a:t>
            </a:r>
          </a:p>
        </p:txBody>
      </p:sp>
      <p:grpSp>
        <p:nvGrpSpPr>
          <p:cNvPr id="36" name="Group 35">
            <a:extLst>
              <a:ext uri="{FF2B5EF4-FFF2-40B4-BE49-F238E27FC236}">
                <a16:creationId xmlns:a16="http://schemas.microsoft.com/office/drawing/2014/main" id="{E08B3F60-4C04-FD43-B2C4-DB4AFFBB7421}"/>
              </a:ext>
            </a:extLst>
          </p:cNvPr>
          <p:cNvGrpSpPr>
            <a:grpSpLocks noChangeAspect="1"/>
          </p:cNvGrpSpPr>
          <p:nvPr/>
        </p:nvGrpSpPr>
        <p:grpSpPr>
          <a:xfrm>
            <a:off x="496991" y="874326"/>
            <a:ext cx="259754" cy="68757"/>
            <a:chOff x="3469621" y="1357388"/>
            <a:chExt cx="506185" cy="133990"/>
          </a:xfrm>
        </p:grpSpPr>
        <p:sp>
          <p:nvSpPr>
            <p:cNvPr id="37" name="Rounded Rectangle 36">
              <a:extLst>
                <a:ext uri="{FF2B5EF4-FFF2-40B4-BE49-F238E27FC236}">
                  <a16:creationId xmlns:a16="http://schemas.microsoft.com/office/drawing/2014/main" id="{73A4F717-B8C1-2D4F-A25C-F3898641F907}"/>
                </a:ext>
              </a:extLst>
            </p:cNvPr>
            <p:cNvSpPr/>
            <p:nvPr/>
          </p:nvSpPr>
          <p:spPr>
            <a:xfrm>
              <a:off x="3469621" y="1357388"/>
              <a:ext cx="133990" cy="13399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ounded Rectangle 37">
              <a:extLst>
                <a:ext uri="{FF2B5EF4-FFF2-40B4-BE49-F238E27FC236}">
                  <a16:creationId xmlns:a16="http://schemas.microsoft.com/office/drawing/2014/main" id="{34C79187-C112-0441-9F52-97CF382B131E}"/>
                </a:ext>
              </a:extLst>
            </p:cNvPr>
            <p:cNvSpPr/>
            <p:nvPr/>
          </p:nvSpPr>
          <p:spPr>
            <a:xfrm>
              <a:off x="3655719" y="1357388"/>
              <a:ext cx="133990" cy="13399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ounded Rectangle 38">
              <a:extLst>
                <a:ext uri="{FF2B5EF4-FFF2-40B4-BE49-F238E27FC236}">
                  <a16:creationId xmlns:a16="http://schemas.microsoft.com/office/drawing/2014/main" id="{12D12E30-D8E7-BA44-80AC-0D037CDA5B51}"/>
                </a:ext>
              </a:extLst>
            </p:cNvPr>
            <p:cNvSpPr/>
            <p:nvPr/>
          </p:nvSpPr>
          <p:spPr>
            <a:xfrm>
              <a:off x="3841816" y="1357388"/>
              <a:ext cx="133990" cy="133990"/>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4" name="Rectangle 33">
            <a:extLst>
              <a:ext uri="{FF2B5EF4-FFF2-40B4-BE49-F238E27FC236}">
                <a16:creationId xmlns:a16="http://schemas.microsoft.com/office/drawing/2014/main" id="{BC13D6D0-5D20-4EC4-B84B-A16BD5F05B26}"/>
              </a:ext>
            </a:extLst>
          </p:cNvPr>
          <p:cNvSpPr/>
          <p:nvPr/>
        </p:nvSpPr>
        <p:spPr>
          <a:xfrm>
            <a:off x="0" y="943083"/>
            <a:ext cx="12192000" cy="530576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en-CA" sz="1000" kern="0" dirty="0">
              <a:solidFill>
                <a:srgbClr val="626066">
                  <a:lumMod val="50000"/>
                </a:srgbClr>
              </a:solidFill>
              <a:latin typeface="Arial Narrow" panose="020B0606020202030204" pitchFamily="34" charset="0"/>
              <a:ea typeface="Arial Unicode MS" panose="020B0604020202020204" pitchFamily="34" charset="-128"/>
              <a:cs typeface="Arial Unicode MS" panose="020B0604020202020204" pitchFamily="34" charset="-128"/>
            </a:endParaRPr>
          </a:p>
        </p:txBody>
      </p:sp>
      <p:sp>
        <p:nvSpPr>
          <p:cNvPr id="114" name="TextBox 113">
            <a:extLst>
              <a:ext uri="{FF2B5EF4-FFF2-40B4-BE49-F238E27FC236}">
                <a16:creationId xmlns:a16="http://schemas.microsoft.com/office/drawing/2014/main" id="{3D57F138-7FF4-49E5-96D0-67B02B7FF4E9}"/>
              </a:ext>
            </a:extLst>
          </p:cNvPr>
          <p:cNvSpPr txBox="1"/>
          <p:nvPr/>
        </p:nvSpPr>
        <p:spPr>
          <a:xfrm>
            <a:off x="10252396" y="6536016"/>
            <a:ext cx="1289135" cy="230832"/>
          </a:xfrm>
          <a:prstGeom prst="rect">
            <a:avLst/>
          </a:prstGeom>
          <a:noFill/>
        </p:spPr>
        <p:txBody>
          <a:bodyPr wrap="none" rtlCol="0">
            <a:spAutoFit/>
          </a:bodyPr>
          <a:lstStyle/>
          <a:p>
            <a:pPr algn="ctr"/>
            <a:r>
              <a:rPr lang="en-US" sz="900" dirty="0">
                <a:solidFill>
                  <a:srgbClr val="FFFFFF"/>
                </a:solidFill>
                <a:latin typeface="+mj-lt"/>
                <a:ea typeface="Open Sans" panose="020B0606030504020204" pitchFamily="34" charset="0"/>
                <a:cs typeface="Open Sans" panose="020B0606030504020204" pitchFamily="34" charset="0"/>
              </a:rPr>
              <a:t>Predictive Maintenance</a:t>
            </a:r>
          </a:p>
        </p:txBody>
      </p:sp>
      <p:grpSp>
        <p:nvGrpSpPr>
          <p:cNvPr id="27" name="Group 26">
            <a:extLst>
              <a:ext uri="{FF2B5EF4-FFF2-40B4-BE49-F238E27FC236}">
                <a16:creationId xmlns:a16="http://schemas.microsoft.com/office/drawing/2014/main" id="{9424CF0F-B876-447C-AB5F-31617885A4F0}"/>
              </a:ext>
            </a:extLst>
          </p:cNvPr>
          <p:cNvGrpSpPr/>
          <p:nvPr/>
        </p:nvGrpSpPr>
        <p:grpSpPr>
          <a:xfrm>
            <a:off x="1568333" y="1740286"/>
            <a:ext cx="8517833" cy="3694181"/>
            <a:chOff x="340847" y="1084744"/>
            <a:chExt cx="8517833" cy="3694181"/>
          </a:xfrm>
        </p:grpSpPr>
        <p:sp>
          <p:nvSpPr>
            <p:cNvPr id="35" name="Rectangle 34">
              <a:extLst>
                <a:ext uri="{FF2B5EF4-FFF2-40B4-BE49-F238E27FC236}">
                  <a16:creationId xmlns:a16="http://schemas.microsoft.com/office/drawing/2014/main" id="{22C01AA9-E4B6-479D-B9D3-225AC228431F}"/>
                </a:ext>
              </a:extLst>
            </p:cNvPr>
            <p:cNvSpPr/>
            <p:nvPr/>
          </p:nvSpPr>
          <p:spPr>
            <a:xfrm>
              <a:off x="352243" y="1092390"/>
              <a:ext cx="1430838" cy="367079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en-CA" sz="1000" kern="0" dirty="0">
                <a:solidFill>
                  <a:srgbClr val="626066">
                    <a:lumMod val="50000"/>
                  </a:srgbClr>
                </a:solidFill>
                <a:latin typeface="Arial Narrow" panose="020B0606020202030204" pitchFamily="34" charset="0"/>
                <a:ea typeface="Arial Unicode MS" panose="020B0604020202020204" pitchFamily="34" charset="-128"/>
                <a:cs typeface="Arial Unicode MS" panose="020B0604020202020204" pitchFamily="34" charset="-128"/>
              </a:endParaRPr>
            </a:p>
          </p:txBody>
        </p:sp>
        <p:sp>
          <p:nvSpPr>
            <p:cNvPr id="40" name="Rectangle 39">
              <a:extLst>
                <a:ext uri="{FF2B5EF4-FFF2-40B4-BE49-F238E27FC236}">
                  <a16:creationId xmlns:a16="http://schemas.microsoft.com/office/drawing/2014/main" id="{EDFD1B2C-6525-478A-9470-38BC8790242D}"/>
                </a:ext>
              </a:extLst>
            </p:cNvPr>
            <p:cNvSpPr/>
            <p:nvPr/>
          </p:nvSpPr>
          <p:spPr>
            <a:xfrm>
              <a:off x="355524" y="1092390"/>
              <a:ext cx="1427557" cy="265906"/>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b="1" dirty="0"/>
                <a:t>Data Sources</a:t>
              </a:r>
            </a:p>
          </p:txBody>
        </p:sp>
        <p:sp>
          <p:nvSpPr>
            <p:cNvPr id="96" name="Rectangle 95">
              <a:extLst>
                <a:ext uri="{FF2B5EF4-FFF2-40B4-BE49-F238E27FC236}">
                  <a16:creationId xmlns:a16="http://schemas.microsoft.com/office/drawing/2014/main" id="{7DD8AFE3-E9DE-4AFF-BEFF-755371574C8F}"/>
                </a:ext>
              </a:extLst>
            </p:cNvPr>
            <p:cNvSpPr/>
            <p:nvPr/>
          </p:nvSpPr>
          <p:spPr>
            <a:xfrm>
              <a:off x="1869617" y="1103756"/>
              <a:ext cx="1427557" cy="367079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en-CA" sz="1000" kern="0" dirty="0">
                <a:solidFill>
                  <a:srgbClr val="626066">
                    <a:lumMod val="50000"/>
                  </a:srgbClr>
                </a:solidFill>
                <a:latin typeface="Arial Narrow" panose="020B0606020202030204" pitchFamily="34" charset="0"/>
                <a:ea typeface="Arial Unicode MS" panose="020B0604020202020204" pitchFamily="34" charset="-128"/>
                <a:cs typeface="Arial Unicode MS" panose="020B0604020202020204" pitchFamily="34" charset="-128"/>
              </a:endParaRPr>
            </a:p>
          </p:txBody>
        </p:sp>
        <p:sp>
          <p:nvSpPr>
            <p:cNvPr id="97" name="Rectangle 96">
              <a:extLst>
                <a:ext uri="{FF2B5EF4-FFF2-40B4-BE49-F238E27FC236}">
                  <a16:creationId xmlns:a16="http://schemas.microsoft.com/office/drawing/2014/main" id="{62B50F05-6571-49CF-A004-419588BB22C2}"/>
                </a:ext>
              </a:extLst>
            </p:cNvPr>
            <p:cNvSpPr/>
            <p:nvPr/>
          </p:nvSpPr>
          <p:spPr>
            <a:xfrm>
              <a:off x="1869617" y="1094250"/>
              <a:ext cx="1427405" cy="265906"/>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b="1" dirty="0"/>
                <a:t>Data Ingestion</a:t>
              </a:r>
            </a:p>
          </p:txBody>
        </p:sp>
        <p:sp>
          <p:nvSpPr>
            <p:cNvPr id="178" name="Rectangle 177">
              <a:extLst>
                <a:ext uri="{FF2B5EF4-FFF2-40B4-BE49-F238E27FC236}">
                  <a16:creationId xmlns:a16="http://schemas.microsoft.com/office/drawing/2014/main" id="{8FEAF2DD-4E79-468C-B421-3ED5089E0203}"/>
                </a:ext>
              </a:extLst>
            </p:cNvPr>
            <p:cNvSpPr/>
            <p:nvPr/>
          </p:nvSpPr>
          <p:spPr>
            <a:xfrm>
              <a:off x="340847" y="2624005"/>
              <a:ext cx="1428675" cy="15574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100" b="1" dirty="0"/>
                <a:t>Simulated Data Source</a:t>
              </a:r>
            </a:p>
            <a:p>
              <a:pPr algn="ctr"/>
              <a:endParaRPr lang="en-CA" sz="1100" b="1" dirty="0"/>
            </a:p>
            <a:p>
              <a:pPr algn="ctr"/>
              <a:r>
                <a:rPr lang="en-CA" sz="1100" b="1" dirty="0"/>
                <a:t>Engine </a:t>
              </a:r>
            </a:p>
            <a:p>
              <a:pPr algn="ctr"/>
              <a:r>
                <a:rPr lang="en-CA" sz="1100" b="1" dirty="0"/>
                <a:t>Sensors &amp; Detectors</a:t>
              </a:r>
            </a:p>
            <a:p>
              <a:pPr marL="171450" indent="-171450">
                <a:buFont typeface="Arial" panose="020B0604020202020204" pitchFamily="34" charset="0"/>
                <a:buChar char="•"/>
              </a:pPr>
              <a:r>
                <a:rPr lang="en-CA" sz="1100" dirty="0"/>
                <a:t>Pressure, Temperature, Speed,</a:t>
              </a:r>
            </a:p>
            <a:p>
              <a:pPr marL="171450" indent="-171450">
                <a:buFont typeface="Arial" panose="020B0604020202020204" pitchFamily="34" charset="0"/>
                <a:buChar char="•"/>
              </a:pPr>
              <a:r>
                <a:rPr lang="en-CA" sz="1100" dirty="0"/>
                <a:t>Vibration ..</a:t>
              </a:r>
              <a:r>
                <a:rPr lang="en-CA" sz="1100" dirty="0" err="1"/>
                <a:t>etc</a:t>
              </a:r>
              <a:endParaRPr lang="en-CA" sz="1100" dirty="0"/>
            </a:p>
          </p:txBody>
        </p:sp>
        <p:pic>
          <p:nvPicPr>
            <p:cNvPr id="3" name="Graphic 2" descr="Television">
              <a:extLst>
                <a:ext uri="{FF2B5EF4-FFF2-40B4-BE49-F238E27FC236}">
                  <a16:creationId xmlns:a16="http://schemas.microsoft.com/office/drawing/2014/main" id="{C1F482CE-49C0-488D-B7C2-9CFFD465796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5403" y="1628939"/>
              <a:ext cx="914400" cy="914400"/>
            </a:xfrm>
            <a:prstGeom prst="rect">
              <a:avLst/>
            </a:prstGeom>
          </p:spPr>
        </p:pic>
        <p:grpSp>
          <p:nvGrpSpPr>
            <p:cNvPr id="82" name="Database" descr="{&quot;Key&quot;:&quot;POWER_USER_SHAPE_ICON&quot;,&quot;Value&quot;:&quot;POWER_USER_SHAPE_ICON_STYLE_1&quot;}">
              <a:extLst>
                <a:ext uri="{FF2B5EF4-FFF2-40B4-BE49-F238E27FC236}">
                  <a16:creationId xmlns:a16="http://schemas.microsoft.com/office/drawing/2014/main" id="{0C13A02B-D8D4-4191-9C8D-E7C38AA62A69}"/>
                </a:ext>
              </a:extLst>
            </p:cNvPr>
            <p:cNvGrpSpPr>
              <a:grpSpLocks noChangeAspect="1"/>
            </p:cNvGrpSpPr>
            <p:nvPr>
              <p:custDataLst>
                <p:tags r:id="rId1"/>
              </p:custDataLst>
            </p:nvPr>
          </p:nvGrpSpPr>
          <p:grpSpPr>
            <a:xfrm>
              <a:off x="2310037" y="2557285"/>
              <a:ext cx="544273" cy="576000"/>
              <a:chOff x="-1607704" y="4375315"/>
              <a:chExt cx="357909" cy="378772"/>
            </a:xfrm>
            <a:solidFill>
              <a:schemeClr val="bg1"/>
            </a:solidFill>
          </p:grpSpPr>
          <p:sp>
            <p:nvSpPr>
              <p:cNvPr id="84" name="Flowchart: Magnetic Disk 83">
                <a:extLst>
                  <a:ext uri="{FF2B5EF4-FFF2-40B4-BE49-F238E27FC236}">
                    <a16:creationId xmlns:a16="http://schemas.microsoft.com/office/drawing/2014/main" id="{532E374D-2F61-4309-8135-892F9A7E844E}"/>
                  </a:ext>
                </a:extLst>
              </p:cNvPr>
              <p:cNvSpPr/>
              <p:nvPr/>
            </p:nvSpPr>
            <p:spPr>
              <a:xfrm>
                <a:off x="-1607704" y="4582410"/>
                <a:ext cx="357909" cy="171677"/>
              </a:xfrm>
              <a:prstGeom prst="flowChartMagneticDisk">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87" name="Flowchart: Magnetic Disk 86">
                <a:extLst>
                  <a:ext uri="{FF2B5EF4-FFF2-40B4-BE49-F238E27FC236}">
                    <a16:creationId xmlns:a16="http://schemas.microsoft.com/office/drawing/2014/main" id="{61634DCA-DA57-4641-AEB1-35FF411F24B2}"/>
                  </a:ext>
                </a:extLst>
              </p:cNvPr>
              <p:cNvSpPr/>
              <p:nvPr/>
            </p:nvSpPr>
            <p:spPr>
              <a:xfrm>
                <a:off x="-1607704" y="4481556"/>
                <a:ext cx="357909" cy="171677"/>
              </a:xfrm>
              <a:prstGeom prst="flowChartMagneticDisk">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88" name="Flowchart: Magnetic Disk 87">
                <a:extLst>
                  <a:ext uri="{FF2B5EF4-FFF2-40B4-BE49-F238E27FC236}">
                    <a16:creationId xmlns:a16="http://schemas.microsoft.com/office/drawing/2014/main" id="{05C548E4-9738-43B8-A059-E1FBDF29EB9B}"/>
                  </a:ext>
                </a:extLst>
              </p:cNvPr>
              <p:cNvSpPr/>
              <p:nvPr/>
            </p:nvSpPr>
            <p:spPr>
              <a:xfrm>
                <a:off x="-1607704" y="4375315"/>
                <a:ext cx="357909" cy="171677"/>
              </a:xfrm>
              <a:prstGeom prst="flowChartMagneticDisk">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grpSp>
        <p:sp>
          <p:nvSpPr>
            <p:cNvPr id="90" name="Rectangle 89">
              <a:extLst>
                <a:ext uri="{FF2B5EF4-FFF2-40B4-BE49-F238E27FC236}">
                  <a16:creationId xmlns:a16="http://schemas.microsoft.com/office/drawing/2014/main" id="{517CCB34-9921-45EF-86F9-80EA082F41E2}"/>
                </a:ext>
              </a:extLst>
            </p:cNvPr>
            <p:cNvSpPr/>
            <p:nvPr/>
          </p:nvSpPr>
          <p:spPr>
            <a:xfrm>
              <a:off x="1869617" y="3166826"/>
              <a:ext cx="1428675" cy="1085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100" b="1" dirty="0"/>
                <a:t>Time Series Dataset in a Tabular Format</a:t>
              </a:r>
              <a:endParaRPr lang="en-CA" sz="1100" dirty="0"/>
            </a:p>
          </p:txBody>
        </p:sp>
        <p:sp>
          <p:nvSpPr>
            <p:cNvPr id="91" name="Rectangle 90">
              <a:extLst>
                <a:ext uri="{FF2B5EF4-FFF2-40B4-BE49-F238E27FC236}">
                  <a16:creationId xmlns:a16="http://schemas.microsoft.com/office/drawing/2014/main" id="{E0B51883-BD86-4339-8E96-203B7A7B0776}"/>
                </a:ext>
              </a:extLst>
            </p:cNvPr>
            <p:cNvSpPr/>
            <p:nvPr/>
          </p:nvSpPr>
          <p:spPr>
            <a:xfrm>
              <a:off x="3388799" y="1108135"/>
              <a:ext cx="1427557" cy="367079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en-CA" sz="1000" kern="0" dirty="0">
                <a:solidFill>
                  <a:srgbClr val="626066">
                    <a:lumMod val="50000"/>
                  </a:srgbClr>
                </a:solidFill>
                <a:latin typeface="Arial Narrow" panose="020B0606020202030204" pitchFamily="34" charset="0"/>
                <a:ea typeface="Arial Unicode MS" panose="020B0604020202020204" pitchFamily="34" charset="-128"/>
                <a:cs typeface="Arial Unicode MS" panose="020B0604020202020204" pitchFamily="34" charset="-128"/>
              </a:endParaRPr>
            </a:p>
          </p:txBody>
        </p:sp>
        <p:sp>
          <p:nvSpPr>
            <p:cNvPr id="92" name="Rectangle 91">
              <a:extLst>
                <a:ext uri="{FF2B5EF4-FFF2-40B4-BE49-F238E27FC236}">
                  <a16:creationId xmlns:a16="http://schemas.microsoft.com/office/drawing/2014/main" id="{93A0C6B3-7E77-4992-957F-2BD749DAF3BD}"/>
                </a:ext>
              </a:extLst>
            </p:cNvPr>
            <p:cNvSpPr/>
            <p:nvPr/>
          </p:nvSpPr>
          <p:spPr>
            <a:xfrm>
              <a:off x="3388799" y="1098629"/>
              <a:ext cx="1427405" cy="265906"/>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b="1" dirty="0"/>
                <a:t>Data Preparation</a:t>
              </a:r>
            </a:p>
          </p:txBody>
        </p:sp>
        <p:sp>
          <p:nvSpPr>
            <p:cNvPr id="93" name="Rectangle 92">
              <a:extLst>
                <a:ext uri="{FF2B5EF4-FFF2-40B4-BE49-F238E27FC236}">
                  <a16:creationId xmlns:a16="http://schemas.microsoft.com/office/drawing/2014/main" id="{1256C55E-C12D-42B7-BCB7-F9D212FBF316}"/>
                </a:ext>
              </a:extLst>
            </p:cNvPr>
            <p:cNvSpPr/>
            <p:nvPr/>
          </p:nvSpPr>
          <p:spPr>
            <a:xfrm>
              <a:off x="3435229" y="1823688"/>
              <a:ext cx="1351456" cy="2254536"/>
            </a:xfrm>
            <a:prstGeom prst="rect">
              <a:avLst/>
            </a:prstGeom>
            <a:solidFill>
              <a:schemeClr val="accent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00" b="1" dirty="0">
                <a:solidFill>
                  <a:schemeClr val="tx1"/>
                </a:solidFill>
              </a:endParaRPr>
            </a:p>
            <a:p>
              <a:pPr algn="ctr"/>
              <a:endParaRPr lang="en-CA" sz="1000" b="1" dirty="0">
                <a:solidFill>
                  <a:schemeClr val="tx1"/>
                </a:solidFill>
              </a:endParaRPr>
            </a:p>
          </p:txBody>
        </p:sp>
        <p:sp>
          <p:nvSpPr>
            <p:cNvPr id="94" name="Rectangle 93">
              <a:extLst>
                <a:ext uri="{FF2B5EF4-FFF2-40B4-BE49-F238E27FC236}">
                  <a16:creationId xmlns:a16="http://schemas.microsoft.com/office/drawing/2014/main" id="{7B7EA072-0AF4-4C2E-A6E0-E426486275E1}"/>
                </a:ext>
              </a:extLst>
            </p:cNvPr>
            <p:cNvSpPr/>
            <p:nvPr/>
          </p:nvSpPr>
          <p:spPr>
            <a:xfrm>
              <a:off x="3471429" y="1946406"/>
              <a:ext cx="1279057" cy="36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b="1" dirty="0">
                  <a:solidFill>
                    <a:schemeClr val="tx1"/>
                  </a:solidFill>
                </a:rPr>
                <a:t>Data Pre-processing</a:t>
              </a:r>
            </a:p>
          </p:txBody>
        </p:sp>
        <p:sp>
          <p:nvSpPr>
            <p:cNvPr id="95" name="Rectangle 94">
              <a:extLst>
                <a:ext uri="{FF2B5EF4-FFF2-40B4-BE49-F238E27FC236}">
                  <a16:creationId xmlns:a16="http://schemas.microsoft.com/office/drawing/2014/main" id="{E3E4BF78-A8EC-458C-AB9F-7BD06E4FAE8C}"/>
                </a:ext>
              </a:extLst>
            </p:cNvPr>
            <p:cNvSpPr/>
            <p:nvPr/>
          </p:nvSpPr>
          <p:spPr>
            <a:xfrm>
              <a:off x="3471429" y="2735958"/>
              <a:ext cx="1279057" cy="36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b="1" dirty="0">
                  <a:solidFill>
                    <a:schemeClr val="tx1"/>
                  </a:solidFill>
                </a:rPr>
                <a:t>Feature Engineering</a:t>
              </a:r>
            </a:p>
          </p:txBody>
        </p:sp>
        <p:sp>
          <p:nvSpPr>
            <p:cNvPr id="99" name="Rectangle 98">
              <a:extLst>
                <a:ext uri="{FF2B5EF4-FFF2-40B4-BE49-F238E27FC236}">
                  <a16:creationId xmlns:a16="http://schemas.microsoft.com/office/drawing/2014/main" id="{44A27ED1-6DDE-4EB2-853A-8B5B69041109}"/>
                </a:ext>
              </a:extLst>
            </p:cNvPr>
            <p:cNvSpPr/>
            <p:nvPr/>
          </p:nvSpPr>
          <p:spPr>
            <a:xfrm>
              <a:off x="3471429" y="2341182"/>
              <a:ext cx="1279057" cy="36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b="1" dirty="0">
                  <a:solidFill>
                    <a:schemeClr val="tx1"/>
                  </a:solidFill>
                </a:rPr>
                <a:t>Stream Analysis</a:t>
              </a:r>
            </a:p>
          </p:txBody>
        </p:sp>
        <p:sp>
          <p:nvSpPr>
            <p:cNvPr id="106" name="Rectangle 105">
              <a:extLst>
                <a:ext uri="{FF2B5EF4-FFF2-40B4-BE49-F238E27FC236}">
                  <a16:creationId xmlns:a16="http://schemas.microsoft.com/office/drawing/2014/main" id="{8140E7CD-E4A7-45EE-9C4B-365824285817}"/>
                </a:ext>
              </a:extLst>
            </p:cNvPr>
            <p:cNvSpPr/>
            <p:nvPr/>
          </p:nvSpPr>
          <p:spPr>
            <a:xfrm>
              <a:off x="3471428" y="3135852"/>
              <a:ext cx="1279057" cy="36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b="1" dirty="0">
                  <a:solidFill>
                    <a:schemeClr val="tx1"/>
                  </a:solidFill>
                </a:rPr>
                <a:t>Data Transformation</a:t>
              </a:r>
            </a:p>
          </p:txBody>
        </p:sp>
        <p:sp>
          <p:nvSpPr>
            <p:cNvPr id="107" name="Rectangle 106">
              <a:extLst>
                <a:ext uri="{FF2B5EF4-FFF2-40B4-BE49-F238E27FC236}">
                  <a16:creationId xmlns:a16="http://schemas.microsoft.com/office/drawing/2014/main" id="{908AE8F7-62C5-4ADB-BCB8-8D897E8F13C3}"/>
                </a:ext>
              </a:extLst>
            </p:cNvPr>
            <p:cNvSpPr/>
            <p:nvPr/>
          </p:nvSpPr>
          <p:spPr>
            <a:xfrm>
              <a:off x="3471428" y="3544578"/>
              <a:ext cx="1279057" cy="36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b="1" dirty="0">
                  <a:solidFill>
                    <a:schemeClr val="tx1"/>
                  </a:solidFill>
                </a:rPr>
                <a:t>Feature Selection</a:t>
              </a:r>
            </a:p>
          </p:txBody>
        </p:sp>
        <p:sp>
          <p:nvSpPr>
            <p:cNvPr id="115" name="Rectangle 114">
              <a:extLst>
                <a:ext uri="{FF2B5EF4-FFF2-40B4-BE49-F238E27FC236}">
                  <a16:creationId xmlns:a16="http://schemas.microsoft.com/office/drawing/2014/main" id="{84FAD060-672B-40EE-8EC3-B68399292C54}"/>
                </a:ext>
              </a:extLst>
            </p:cNvPr>
            <p:cNvSpPr/>
            <p:nvPr/>
          </p:nvSpPr>
          <p:spPr>
            <a:xfrm>
              <a:off x="4922154" y="1103756"/>
              <a:ext cx="1427557" cy="3670790"/>
            </a:xfrm>
            <a:prstGeom prst="rect">
              <a:avLst/>
            </a:prstGeom>
            <a:solidFill>
              <a:srgbClr val="42D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en-CA" sz="1000" kern="0" dirty="0">
                <a:solidFill>
                  <a:srgbClr val="626066">
                    <a:lumMod val="50000"/>
                  </a:srgbClr>
                </a:solidFill>
                <a:latin typeface="Arial Narrow" panose="020B0606020202030204" pitchFamily="34" charset="0"/>
                <a:ea typeface="Arial Unicode MS" panose="020B0604020202020204" pitchFamily="34" charset="-128"/>
                <a:cs typeface="Arial Unicode MS" panose="020B0604020202020204" pitchFamily="34" charset="-128"/>
              </a:endParaRPr>
            </a:p>
          </p:txBody>
        </p:sp>
        <p:sp>
          <p:nvSpPr>
            <p:cNvPr id="116" name="Rectangle 115">
              <a:extLst>
                <a:ext uri="{FF2B5EF4-FFF2-40B4-BE49-F238E27FC236}">
                  <a16:creationId xmlns:a16="http://schemas.microsoft.com/office/drawing/2014/main" id="{7355E70E-8F87-40C8-ADE8-D04C1AB5C1B2}"/>
                </a:ext>
              </a:extLst>
            </p:cNvPr>
            <p:cNvSpPr/>
            <p:nvPr/>
          </p:nvSpPr>
          <p:spPr>
            <a:xfrm>
              <a:off x="4922154" y="1094250"/>
              <a:ext cx="1427405" cy="265906"/>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b="1" dirty="0"/>
                <a:t>Model Development</a:t>
              </a:r>
            </a:p>
          </p:txBody>
        </p:sp>
        <p:cxnSp>
          <p:nvCxnSpPr>
            <p:cNvPr id="117" name="Straight Arrow Connector 116">
              <a:extLst>
                <a:ext uri="{FF2B5EF4-FFF2-40B4-BE49-F238E27FC236}">
                  <a16:creationId xmlns:a16="http://schemas.microsoft.com/office/drawing/2014/main" id="{2E658640-2F27-4F1C-8639-56B534503113}"/>
                </a:ext>
              </a:extLst>
            </p:cNvPr>
            <p:cNvCxnSpPr>
              <a:cxnSpLocks/>
            </p:cNvCxnSpPr>
            <p:nvPr/>
          </p:nvCxnSpPr>
          <p:spPr>
            <a:xfrm flipV="1">
              <a:off x="2872943" y="2853420"/>
              <a:ext cx="563469" cy="5643"/>
            </a:xfrm>
            <a:prstGeom prst="straightConnector1">
              <a:avLst/>
            </a:prstGeom>
            <a:ln w="38100">
              <a:solidFill>
                <a:srgbClr val="FFFF00"/>
              </a:solidFill>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EF6D41E5-5CB7-4DB3-B90A-02B25E5B6726}"/>
                </a:ext>
              </a:extLst>
            </p:cNvPr>
            <p:cNvCxnSpPr>
              <a:cxnSpLocks/>
            </p:cNvCxnSpPr>
            <p:nvPr/>
          </p:nvCxnSpPr>
          <p:spPr>
            <a:xfrm flipV="1">
              <a:off x="1621296" y="2841284"/>
              <a:ext cx="563469" cy="5643"/>
            </a:xfrm>
            <a:prstGeom prst="straightConnector1">
              <a:avLst/>
            </a:prstGeom>
            <a:ln w="38100">
              <a:solidFill>
                <a:srgbClr val="FFFF00"/>
              </a:solidFill>
              <a:tailEnd type="triangle"/>
            </a:ln>
          </p:spPr>
          <p:style>
            <a:lnRef idx="1">
              <a:schemeClr val="accent1"/>
            </a:lnRef>
            <a:fillRef idx="0">
              <a:schemeClr val="accent1"/>
            </a:fillRef>
            <a:effectRef idx="0">
              <a:schemeClr val="accent1"/>
            </a:effectRef>
            <a:fontRef idx="minor">
              <a:schemeClr val="tx1"/>
            </a:fontRef>
          </p:style>
        </p:cxnSp>
        <p:pic>
          <p:nvPicPr>
            <p:cNvPr id="8" name="Picture 7" descr="A picture containing clock, drawing&#10;&#10;Description automatically generated">
              <a:extLst>
                <a:ext uri="{FF2B5EF4-FFF2-40B4-BE49-F238E27FC236}">
                  <a16:creationId xmlns:a16="http://schemas.microsoft.com/office/drawing/2014/main" id="{957F9456-C1F3-4285-8C02-A7CE2997966E}"/>
                </a:ext>
              </a:extLst>
            </p:cNvPr>
            <p:cNvPicPr>
              <a:picLocks noChangeAspect="1"/>
            </p:cNvPicPr>
            <p:nvPr/>
          </p:nvPicPr>
          <p:blipFill rotWithShape="1">
            <a:blip r:embed="rId5"/>
            <a:srcRect l="6509" t="4576" b="8555"/>
            <a:stretch/>
          </p:blipFill>
          <p:spPr>
            <a:xfrm>
              <a:off x="5059284" y="2500530"/>
              <a:ext cx="1123466" cy="811636"/>
            </a:xfrm>
            <a:prstGeom prst="rect">
              <a:avLst/>
            </a:prstGeom>
          </p:spPr>
        </p:pic>
        <p:cxnSp>
          <p:nvCxnSpPr>
            <p:cNvPr id="132" name="Straight Arrow Connector 131">
              <a:extLst>
                <a:ext uri="{FF2B5EF4-FFF2-40B4-BE49-F238E27FC236}">
                  <a16:creationId xmlns:a16="http://schemas.microsoft.com/office/drawing/2014/main" id="{E0F839B5-5223-4914-B2A7-6D919C461718}"/>
                </a:ext>
              </a:extLst>
            </p:cNvPr>
            <p:cNvCxnSpPr>
              <a:cxnSpLocks/>
              <a:stCxn id="95" idx="3"/>
              <a:endCxn id="8" idx="1"/>
            </p:cNvCxnSpPr>
            <p:nvPr/>
          </p:nvCxnSpPr>
          <p:spPr>
            <a:xfrm flipV="1">
              <a:off x="4750486" y="2906348"/>
              <a:ext cx="308798" cy="9610"/>
            </a:xfrm>
            <a:prstGeom prst="straightConnector1">
              <a:avLst/>
            </a:prstGeom>
            <a:ln w="38100">
              <a:solidFill>
                <a:srgbClr val="FFFF00"/>
              </a:solidFill>
              <a:tailEnd type="triangle"/>
            </a:ln>
          </p:spPr>
          <p:style>
            <a:lnRef idx="1">
              <a:schemeClr val="accent1"/>
            </a:lnRef>
            <a:fillRef idx="0">
              <a:schemeClr val="accent1"/>
            </a:fillRef>
            <a:effectRef idx="0">
              <a:schemeClr val="accent1"/>
            </a:effectRef>
            <a:fontRef idx="minor">
              <a:schemeClr val="tx1"/>
            </a:fontRef>
          </p:style>
        </p:cxnSp>
        <p:sp>
          <p:nvSpPr>
            <p:cNvPr id="133" name="Rectangle 132">
              <a:extLst>
                <a:ext uri="{FF2B5EF4-FFF2-40B4-BE49-F238E27FC236}">
                  <a16:creationId xmlns:a16="http://schemas.microsoft.com/office/drawing/2014/main" id="{D6E7F2C1-1A35-42AF-A5B3-9A24EA466BC9}"/>
                </a:ext>
              </a:extLst>
            </p:cNvPr>
            <p:cNvSpPr/>
            <p:nvPr/>
          </p:nvSpPr>
          <p:spPr>
            <a:xfrm>
              <a:off x="4914802" y="1377428"/>
              <a:ext cx="1428675" cy="9002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100" b="1" dirty="0">
                  <a:solidFill>
                    <a:schemeClr val="tx1"/>
                  </a:solidFill>
                </a:rPr>
                <a:t>Remining Useful Time Prediction Using LSTM Recurrent Neural Network</a:t>
              </a:r>
              <a:endParaRPr lang="en-CA" sz="1100" dirty="0">
                <a:solidFill>
                  <a:schemeClr val="tx1"/>
                </a:solidFill>
              </a:endParaRPr>
            </a:p>
          </p:txBody>
        </p:sp>
        <p:sp>
          <p:nvSpPr>
            <p:cNvPr id="136" name="Rectangle 135">
              <a:extLst>
                <a:ext uri="{FF2B5EF4-FFF2-40B4-BE49-F238E27FC236}">
                  <a16:creationId xmlns:a16="http://schemas.microsoft.com/office/drawing/2014/main" id="{76BD9A45-B42A-43AE-BA47-4321D0DA8431}"/>
                </a:ext>
              </a:extLst>
            </p:cNvPr>
            <p:cNvSpPr/>
            <p:nvPr/>
          </p:nvSpPr>
          <p:spPr>
            <a:xfrm>
              <a:off x="6447574" y="1094250"/>
              <a:ext cx="2411106" cy="367079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en-CA" sz="1000" kern="0" dirty="0">
                <a:solidFill>
                  <a:srgbClr val="626066">
                    <a:lumMod val="50000"/>
                  </a:srgbClr>
                </a:solidFill>
                <a:latin typeface="Arial Narrow" panose="020B0606020202030204" pitchFamily="34" charset="0"/>
                <a:ea typeface="Arial Unicode MS" panose="020B0604020202020204" pitchFamily="34" charset="-128"/>
              </a:endParaRPr>
            </a:p>
          </p:txBody>
        </p:sp>
        <p:sp>
          <p:nvSpPr>
            <p:cNvPr id="137" name="Rectangle 136">
              <a:extLst>
                <a:ext uri="{FF2B5EF4-FFF2-40B4-BE49-F238E27FC236}">
                  <a16:creationId xmlns:a16="http://schemas.microsoft.com/office/drawing/2014/main" id="{F7AFF96A-9518-45CF-9957-5F1E2BF93DD3}"/>
                </a:ext>
              </a:extLst>
            </p:cNvPr>
            <p:cNvSpPr/>
            <p:nvPr/>
          </p:nvSpPr>
          <p:spPr>
            <a:xfrm>
              <a:off x="6447574" y="1084744"/>
              <a:ext cx="2411106" cy="265906"/>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b="1" dirty="0"/>
                <a:t>Rule Based Layer</a:t>
              </a:r>
            </a:p>
          </p:txBody>
        </p:sp>
        <p:sp>
          <p:nvSpPr>
            <p:cNvPr id="138" name="Rectangle 137">
              <a:extLst>
                <a:ext uri="{FF2B5EF4-FFF2-40B4-BE49-F238E27FC236}">
                  <a16:creationId xmlns:a16="http://schemas.microsoft.com/office/drawing/2014/main" id="{D1140D85-ADF9-4996-8AE1-692322ACE45E}"/>
                </a:ext>
              </a:extLst>
            </p:cNvPr>
            <p:cNvSpPr/>
            <p:nvPr/>
          </p:nvSpPr>
          <p:spPr>
            <a:xfrm>
              <a:off x="6503561" y="1726139"/>
              <a:ext cx="901807" cy="36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b="1" dirty="0">
                  <a:solidFill>
                    <a:schemeClr val="tx1"/>
                  </a:solidFill>
                </a:rPr>
                <a:t>Rules</a:t>
              </a:r>
            </a:p>
            <a:p>
              <a:pPr algn="ctr"/>
              <a:r>
                <a:rPr lang="en-CA" sz="1000" b="1" dirty="0">
                  <a:solidFill>
                    <a:schemeClr val="tx1"/>
                  </a:solidFill>
                </a:rPr>
                <a:t>If - Then</a:t>
              </a:r>
            </a:p>
          </p:txBody>
        </p:sp>
        <p:sp>
          <p:nvSpPr>
            <p:cNvPr id="139" name="Rectangle 138">
              <a:extLst>
                <a:ext uri="{FF2B5EF4-FFF2-40B4-BE49-F238E27FC236}">
                  <a16:creationId xmlns:a16="http://schemas.microsoft.com/office/drawing/2014/main" id="{0B033B1D-DA5E-4411-8680-7E1708B428B8}"/>
                </a:ext>
              </a:extLst>
            </p:cNvPr>
            <p:cNvSpPr/>
            <p:nvPr/>
          </p:nvSpPr>
          <p:spPr>
            <a:xfrm>
              <a:off x="7907917" y="1726139"/>
              <a:ext cx="901807" cy="36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b="1" dirty="0">
                  <a:solidFill>
                    <a:schemeClr val="tx1"/>
                  </a:solidFill>
                </a:rPr>
                <a:t>Facts</a:t>
              </a:r>
            </a:p>
          </p:txBody>
        </p:sp>
        <p:sp>
          <p:nvSpPr>
            <p:cNvPr id="140" name="Rectangle 139">
              <a:extLst>
                <a:ext uri="{FF2B5EF4-FFF2-40B4-BE49-F238E27FC236}">
                  <a16:creationId xmlns:a16="http://schemas.microsoft.com/office/drawing/2014/main" id="{3C198AD7-192A-4389-AF1F-7F3C167DFD91}"/>
                </a:ext>
              </a:extLst>
            </p:cNvPr>
            <p:cNvSpPr/>
            <p:nvPr/>
          </p:nvSpPr>
          <p:spPr>
            <a:xfrm>
              <a:off x="7101753" y="2284220"/>
              <a:ext cx="1095957" cy="36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b="1" dirty="0">
                  <a:solidFill>
                    <a:schemeClr val="tx1"/>
                  </a:solidFill>
                </a:rPr>
                <a:t>Interface Engine</a:t>
              </a:r>
            </a:p>
          </p:txBody>
        </p:sp>
        <p:sp>
          <p:nvSpPr>
            <p:cNvPr id="141" name="Rectangle 140">
              <a:extLst>
                <a:ext uri="{FF2B5EF4-FFF2-40B4-BE49-F238E27FC236}">
                  <a16:creationId xmlns:a16="http://schemas.microsoft.com/office/drawing/2014/main" id="{D3184C26-DF37-475B-A682-842915210534}"/>
                </a:ext>
              </a:extLst>
            </p:cNvPr>
            <p:cNvSpPr/>
            <p:nvPr/>
          </p:nvSpPr>
          <p:spPr>
            <a:xfrm>
              <a:off x="7109198" y="2832601"/>
              <a:ext cx="1095957" cy="36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b="1" dirty="0">
                  <a:solidFill>
                    <a:schemeClr val="tx1"/>
                  </a:solidFill>
                </a:rPr>
                <a:t>Explanation Facilities</a:t>
              </a:r>
            </a:p>
          </p:txBody>
        </p:sp>
        <p:sp>
          <p:nvSpPr>
            <p:cNvPr id="142" name="Rectangle 141">
              <a:extLst>
                <a:ext uri="{FF2B5EF4-FFF2-40B4-BE49-F238E27FC236}">
                  <a16:creationId xmlns:a16="http://schemas.microsoft.com/office/drawing/2014/main" id="{D59613F1-2E50-48D3-A4DB-216F15DB7AB1}"/>
                </a:ext>
              </a:extLst>
            </p:cNvPr>
            <p:cNvSpPr/>
            <p:nvPr/>
          </p:nvSpPr>
          <p:spPr>
            <a:xfrm>
              <a:off x="7109198" y="3404902"/>
              <a:ext cx="1095957" cy="36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b="1" dirty="0">
                  <a:solidFill>
                    <a:schemeClr val="tx1"/>
                  </a:solidFill>
                </a:rPr>
                <a:t>User Interface</a:t>
              </a:r>
            </a:p>
          </p:txBody>
        </p:sp>
        <p:sp>
          <p:nvSpPr>
            <p:cNvPr id="14" name="Oval 13">
              <a:extLst>
                <a:ext uri="{FF2B5EF4-FFF2-40B4-BE49-F238E27FC236}">
                  <a16:creationId xmlns:a16="http://schemas.microsoft.com/office/drawing/2014/main" id="{A6C3912B-6CCA-4993-BCAA-7740656268DB}"/>
                </a:ext>
              </a:extLst>
            </p:cNvPr>
            <p:cNvSpPr/>
            <p:nvPr/>
          </p:nvSpPr>
          <p:spPr>
            <a:xfrm>
              <a:off x="7185528" y="3973158"/>
              <a:ext cx="943295" cy="44269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b="1" dirty="0">
                  <a:solidFill>
                    <a:schemeClr val="tx1"/>
                  </a:solidFill>
                </a:rPr>
                <a:t>User</a:t>
              </a:r>
            </a:p>
          </p:txBody>
        </p:sp>
        <p:cxnSp>
          <p:nvCxnSpPr>
            <p:cNvPr id="16" name="Connector: Elbow 15">
              <a:extLst>
                <a:ext uri="{FF2B5EF4-FFF2-40B4-BE49-F238E27FC236}">
                  <a16:creationId xmlns:a16="http://schemas.microsoft.com/office/drawing/2014/main" id="{1A17CB8A-1785-450F-AD62-54148808191C}"/>
                </a:ext>
              </a:extLst>
            </p:cNvPr>
            <p:cNvCxnSpPr>
              <a:stCxn id="138" idx="2"/>
              <a:endCxn id="140" idx="1"/>
            </p:cNvCxnSpPr>
            <p:nvPr/>
          </p:nvCxnSpPr>
          <p:spPr>
            <a:xfrm rot="16200000" flipH="1">
              <a:off x="6839069" y="2201535"/>
              <a:ext cx="378081" cy="147288"/>
            </a:xfrm>
            <a:prstGeom prst="bentConnector2">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8" name="Connector: Elbow 167">
              <a:extLst>
                <a:ext uri="{FF2B5EF4-FFF2-40B4-BE49-F238E27FC236}">
                  <a16:creationId xmlns:a16="http://schemas.microsoft.com/office/drawing/2014/main" id="{8B09D94A-F164-478F-9558-E2870367F19F}"/>
                </a:ext>
              </a:extLst>
            </p:cNvPr>
            <p:cNvCxnSpPr>
              <a:cxnSpLocks/>
              <a:stCxn id="139" idx="2"/>
              <a:endCxn id="140" idx="3"/>
            </p:cNvCxnSpPr>
            <p:nvPr/>
          </p:nvCxnSpPr>
          <p:spPr>
            <a:xfrm rot="5400000">
              <a:off x="8089226" y="2194624"/>
              <a:ext cx="378081" cy="161111"/>
            </a:xfrm>
            <a:prstGeom prst="bentConnector2">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C1805F5F-C7BD-43AF-88C3-2520CB749D89}"/>
                </a:ext>
              </a:extLst>
            </p:cNvPr>
            <p:cNvCxnSpPr>
              <a:stCxn id="140" idx="2"/>
              <a:endCxn id="141" idx="0"/>
            </p:cNvCxnSpPr>
            <p:nvPr/>
          </p:nvCxnSpPr>
          <p:spPr>
            <a:xfrm>
              <a:off x="7649732" y="2644220"/>
              <a:ext cx="7445" cy="188381"/>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9" name="Straight Arrow Connector 168">
              <a:extLst>
                <a:ext uri="{FF2B5EF4-FFF2-40B4-BE49-F238E27FC236}">
                  <a16:creationId xmlns:a16="http://schemas.microsoft.com/office/drawing/2014/main" id="{BD709461-7E69-4964-82A9-04F0314EC787}"/>
                </a:ext>
              </a:extLst>
            </p:cNvPr>
            <p:cNvCxnSpPr>
              <a:cxnSpLocks/>
              <a:stCxn id="141" idx="2"/>
              <a:endCxn id="142" idx="0"/>
            </p:cNvCxnSpPr>
            <p:nvPr/>
          </p:nvCxnSpPr>
          <p:spPr>
            <a:xfrm>
              <a:off x="7657177" y="3192601"/>
              <a:ext cx="0" cy="212301"/>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0" name="Straight Arrow Connector 169">
              <a:extLst>
                <a:ext uri="{FF2B5EF4-FFF2-40B4-BE49-F238E27FC236}">
                  <a16:creationId xmlns:a16="http://schemas.microsoft.com/office/drawing/2014/main" id="{95686024-B42E-44FA-B343-7C429AF20DA4}"/>
                </a:ext>
              </a:extLst>
            </p:cNvPr>
            <p:cNvCxnSpPr>
              <a:cxnSpLocks/>
              <a:stCxn id="142" idx="2"/>
              <a:endCxn id="14" idx="0"/>
            </p:cNvCxnSpPr>
            <p:nvPr/>
          </p:nvCxnSpPr>
          <p:spPr>
            <a:xfrm flipH="1">
              <a:off x="7657176" y="3764902"/>
              <a:ext cx="1" cy="208256"/>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2" name="Straight Arrow Connector 171">
              <a:extLst>
                <a:ext uri="{FF2B5EF4-FFF2-40B4-BE49-F238E27FC236}">
                  <a16:creationId xmlns:a16="http://schemas.microsoft.com/office/drawing/2014/main" id="{30B1B33D-8DA7-403F-A144-E01DFEEEBB70}"/>
                </a:ext>
              </a:extLst>
            </p:cNvPr>
            <p:cNvCxnSpPr>
              <a:cxnSpLocks/>
              <a:endCxn id="136" idx="1"/>
            </p:cNvCxnSpPr>
            <p:nvPr/>
          </p:nvCxnSpPr>
          <p:spPr>
            <a:xfrm flipV="1">
              <a:off x="6172597" y="2929645"/>
              <a:ext cx="274977" cy="7214"/>
            </a:xfrm>
            <a:prstGeom prst="straightConnector1">
              <a:avLst/>
            </a:prstGeom>
            <a:ln w="38100">
              <a:solidFill>
                <a:srgbClr val="FFFF00"/>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59383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9" name="Rounded Rectangle 11">
            <a:extLst>
              <a:ext uri="{FF2B5EF4-FFF2-40B4-BE49-F238E27FC236}">
                <a16:creationId xmlns:a16="http://schemas.microsoft.com/office/drawing/2014/main" id="{0596A713-7779-4312-9549-A36294D5D872}"/>
              </a:ext>
            </a:extLst>
          </p:cNvPr>
          <p:cNvSpPr/>
          <p:nvPr/>
        </p:nvSpPr>
        <p:spPr>
          <a:xfrm>
            <a:off x="10195505" y="6547461"/>
            <a:ext cx="1604909" cy="223331"/>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ounded Rectangle 82">
            <a:extLst>
              <a:ext uri="{FF2B5EF4-FFF2-40B4-BE49-F238E27FC236}">
                <a16:creationId xmlns:a16="http://schemas.microsoft.com/office/drawing/2014/main" id="{F31C0596-B0E4-4D56-AF97-A02D9407AEDD}"/>
              </a:ext>
            </a:extLst>
          </p:cNvPr>
          <p:cNvSpPr/>
          <p:nvPr/>
        </p:nvSpPr>
        <p:spPr>
          <a:xfrm>
            <a:off x="11532603" y="6547461"/>
            <a:ext cx="569026" cy="223331"/>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Slide Number Placeholder 24">
            <a:extLst>
              <a:ext uri="{FF2B5EF4-FFF2-40B4-BE49-F238E27FC236}">
                <a16:creationId xmlns:a16="http://schemas.microsoft.com/office/drawing/2014/main" id="{9018FB15-C9B2-4FD8-AA44-C3EDA8A7E570}"/>
              </a:ext>
            </a:extLst>
          </p:cNvPr>
          <p:cNvSpPr>
            <a:spLocks noGrp="1"/>
          </p:cNvSpPr>
          <p:nvPr>
            <p:ph type="sldNum" sz="quarter" idx="12"/>
          </p:nvPr>
        </p:nvSpPr>
        <p:spPr>
          <a:xfrm>
            <a:off x="11573685" y="6476563"/>
            <a:ext cx="486861" cy="365125"/>
          </a:xfrm>
        </p:spPr>
        <p:txBody>
          <a:bodyPr/>
          <a:lstStyle/>
          <a:p>
            <a:fld id="{3BA69586-E6B3-B646-96E5-E7A8350A3CCE}" type="slidenum">
              <a:rPr lang="en-US" smtClean="0">
                <a:solidFill>
                  <a:srgbClr val="FFFFFF"/>
                </a:solidFill>
              </a:rPr>
              <a:pPr/>
              <a:t>4</a:t>
            </a:fld>
            <a:endParaRPr lang="en-US" dirty="0">
              <a:solidFill>
                <a:srgbClr val="FFFFFF"/>
              </a:solidFill>
            </a:endParaRPr>
          </a:p>
        </p:txBody>
      </p:sp>
      <p:sp>
        <p:nvSpPr>
          <p:cNvPr id="32" name="TextBox 31">
            <a:extLst>
              <a:ext uri="{FF2B5EF4-FFF2-40B4-BE49-F238E27FC236}">
                <a16:creationId xmlns:a16="http://schemas.microsoft.com/office/drawing/2014/main" id="{727D1944-9F0C-4C05-829F-B0EF25E91151}"/>
              </a:ext>
            </a:extLst>
          </p:cNvPr>
          <p:cNvSpPr txBox="1"/>
          <p:nvPr/>
        </p:nvSpPr>
        <p:spPr>
          <a:xfrm>
            <a:off x="10252396" y="6536016"/>
            <a:ext cx="1289135" cy="230832"/>
          </a:xfrm>
          <a:prstGeom prst="rect">
            <a:avLst/>
          </a:prstGeom>
          <a:noFill/>
        </p:spPr>
        <p:txBody>
          <a:bodyPr wrap="none" rtlCol="0">
            <a:spAutoFit/>
          </a:bodyPr>
          <a:lstStyle/>
          <a:p>
            <a:pPr algn="ctr"/>
            <a:r>
              <a:rPr lang="en-US" sz="900" dirty="0">
                <a:solidFill>
                  <a:srgbClr val="FFFFFF"/>
                </a:solidFill>
                <a:latin typeface="+mj-lt"/>
                <a:ea typeface="Open Sans" panose="020B0606030504020204" pitchFamily="34" charset="0"/>
                <a:cs typeface="Open Sans" panose="020B0606030504020204" pitchFamily="34" charset="0"/>
              </a:rPr>
              <a:t>Predictive Maintenance</a:t>
            </a:r>
          </a:p>
        </p:txBody>
      </p:sp>
      <p:sp>
        <p:nvSpPr>
          <p:cNvPr id="18" name="TextBox 17">
            <a:extLst>
              <a:ext uri="{FF2B5EF4-FFF2-40B4-BE49-F238E27FC236}">
                <a16:creationId xmlns:a16="http://schemas.microsoft.com/office/drawing/2014/main" id="{70B5F2CF-3C49-4FF5-BA24-0E28D79AE69B}"/>
              </a:ext>
            </a:extLst>
          </p:cNvPr>
          <p:cNvSpPr txBox="1"/>
          <p:nvPr/>
        </p:nvSpPr>
        <p:spPr>
          <a:xfrm flipH="1">
            <a:off x="6344698" y="113153"/>
            <a:ext cx="5756930" cy="5262979"/>
          </a:xfrm>
          <a:prstGeom prst="rect">
            <a:avLst/>
          </a:prstGeom>
          <a:noFill/>
        </p:spPr>
        <p:txBody>
          <a:bodyPr wrap="square" rtlCol="0">
            <a:spAutoFit/>
          </a:bodyPr>
          <a:lstStyle/>
          <a:p>
            <a:r>
              <a:rPr lang="en-CA" sz="1600" b="1" dirty="0">
                <a:latin typeface="+mj-lt"/>
                <a:ea typeface="Open Sans" panose="020B0606030504020204" pitchFamily="34" charset="0"/>
                <a:cs typeface="Open Sans" panose="020B0606030504020204" pitchFamily="34" charset="0"/>
              </a:rPr>
              <a:t>Data Source</a:t>
            </a:r>
          </a:p>
          <a:p>
            <a:r>
              <a:rPr lang="en-US" sz="1600" dirty="0">
                <a:latin typeface="+mj-lt"/>
                <a:ea typeface="Open Sans" panose="020B0606030504020204" pitchFamily="34" charset="0"/>
                <a:cs typeface="Open Sans" panose="020B0606030504020204" pitchFamily="34" charset="0"/>
              </a:rPr>
              <a:t>The datasets were obtained from </a:t>
            </a:r>
            <a:r>
              <a:rPr lang="en-US" sz="1600" dirty="0">
                <a:latin typeface="+mj-lt"/>
                <a:ea typeface="Open Sans" panose="020B0606030504020204" pitchFamily="34" charset="0"/>
                <a:cs typeface="Open Sans" panose="020B0606030504020204" pitchFamily="34" charset="0"/>
                <a:hlinkClick r:id="rId2"/>
              </a:rPr>
              <a:t>https://www.kaggle.com/datasets</a:t>
            </a:r>
            <a:r>
              <a:rPr lang="en-US" sz="1600" dirty="0">
                <a:latin typeface="+mj-lt"/>
                <a:ea typeface="Open Sans" panose="020B0606030504020204" pitchFamily="34" charset="0"/>
                <a:cs typeface="Open Sans" panose="020B0606030504020204" pitchFamily="34" charset="0"/>
              </a:rPr>
              <a:t> for an aircraft engine. The dataset consist of temporal and static data and contains the followings:</a:t>
            </a:r>
          </a:p>
          <a:p>
            <a:pPr marL="285750" indent="-285750">
              <a:buFont typeface="Arial" panose="020B0604020202020204" pitchFamily="34" charset="0"/>
              <a:buChar char="•"/>
            </a:pPr>
            <a:r>
              <a:rPr lang="en-US" sz="1600" dirty="0">
                <a:latin typeface="+mj-lt"/>
                <a:ea typeface="Open Sans" panose="020B0606030504020204" pitchFamily="34" charset="0"/>
                <a:cs typeface="Open Sans" panose="020B0606030504020204" pitchFamily="34" charset="0"/>
              </a:rPr>
              <a:t>Machine metadata for 100 engines;</a:t>
            </a:r>
          </a:p>
          <a:p>
            <a:pPr marL="285750" indent="-285750">
              <a:buFont typeface="Arial" panose="020B0604020202020204" pitchFamily="34" charset="0"/>
              <a:buChar char="•"/>
            </a:pPr>
            <a:r>
              <a:rPr lang="en-US" sz="1600" dirty="0">
                <a:latin typeface="+mj-lt"/>
                <a:ea typeface="Open Sans" panose="020B0606030504020204" pitchFamily="34" charset="0"/>
                <a:cs typeface="Open Sans" panose="020B0606030504020204" pitchFamily="34" charset="0"/>
              </a:rPr>
              <a:t>Data from 21 sensors;</a:t>
            </a:r>
          </a:p>
          <a:p>
            <a:pPr marL="285750" indent="-285750">
              <a:buFont typeface="Arial" panose="020B0604020202020204" pitchFamily="34" charset="0"/>
              <a:buChar char="•"/>
            </a:pPr>
            <a:r>
              <a:rPr lang="en-US" sz="1600" dirty="0">
                <a:latin typeface="+mj-lt"/>
                <a:ea typeface="Open Sans" panose="020B0606030504020204" pitchFamily="34" charset="0"/>
                <a:cs typeface="Open Sans" panose="020B0606030504020204" pitchFamily="34" charset="0"/>
              </a:rPr>
              <a:t>Machine Sittings;</a:t>
            </a:r>
          </a:p>
          <a:p>
            <a:pPr marL="285750" indent="-285750">
              <a:buFont typeface="Arial" panose="020B0604020202020204" pitchFamily="34" charset="0"/>
              <a:buChar char="•"/>
            </a:pPr>
            <a:r>
              <a:rPr lang="en-US" sz="1600" dirty="0">
                <a:latin typeface="+mj-lt"/>
                <a:ea typeface="Open Sans" panose="020B0606030504020204" pitchFamily="34" charset="0"/>
                <a:cs typeface="Open Sans" panose="020B0606030504020204" pitchFamily="34" charset="0"/>
              </a:rPr>
              <a:t>Machine Remaining Useful Life </a:t>
            </a:r>
            <a:r>
              <a:rPr lang="en-US" sz="1600" dirty="0">
                <a:ea typeface="Open Sans" panose="020B0606030504020204" pitchFamily="34" charset="0"/>
                <a:cs typeface="Open Sans" panose="020B0606030504020204" pitchFamily="34" charset="0"/>
              </a:rPr>
              <a:t>(RUL) </a:t>
            </a:r>
            <a:endParaRPr lang="en-US" sz="1600" dirty="0">
              <a:latin typeface="+mj-lt"/>
              <a:ea typeface="Open Sans" panose="020B0606030504020204" pitchFamily="34" charset="0"/>
              <a:cs typeface="Open Sans" panose="020B0606030504020204" pitchFamily="34" charset="0"/>
            </a:endParaRPr>
          </a:p>
          <a:p>
            <a:r>
              <a:rPr lang="en-US" sz="1600" b="1" dirty="0">
                <a:latin typeface="+mj-lt"/>
                <a:ea typeface="Open Sans" panose="020B0606030504020204" pitchFamily="34" charset="0"/>
                <a:cs typeface="Open Sans" panose="020B0606030504020204" pitchFamily="34" charset="0"/>
              </a:rPr>
              <a:t>Data Preparation and Pre-processing</a:t>
            </a:r>
          </a:p>
          <a:p>
            <a:r>
              <a:rPr lang="en-US" sz="1600" dirty="0">
                <a:latin typeface="+mj-lt"/>
                <a:ea typeface="Open Sans" panose="020B0606030504020204" pitchFamily="34" charset="0"/>
                <a:cs typeface="Open Sans" panose="020B0606030504020204" pitchFamily="34" charset="0"/>
              </a:rPr>
              <a:t>The data were preprocessed to  divide the sensor data into time units (cycles) and determine the maximum number of cycles each machine works before fails. In addition, the time series sensor data were analyzed by looking at series rolling aggregates to determine any anomalies </a:t>
            </a:r>
          </a:p>
          <a:p>
            <a:endParaRPr lang="en-US" sz="1600" dirty="0">
              <a:latin typeface="+mj-lt"/>
              <a:ea typeface="Open Sans" panose="020B0606030504020204" pitchFamily="34" charset="0"/>
              <a:cs typeface="Open Sans" panose="020B0606030504020204" pitchFamily="34" charset="0"/>
            </a:endParaRPr>
          </a:p>
          <a:p>
            <a:endParaRPr lang="en-US" sz="1600" dirty="0">
              <a:latin typeface="+mj-lt"/>
              <a:ea typeface="Open Sans" panose="020B0606030504020204" pitchFamily="34" charset="0"/>
              <a:cs typeface="Open Sans" panose="020B0606030504020204" pitchFamily="34" charset="0"/>
            </a:endParaRPr>
          </a:p>
          <a:p>
            <a:r>
              <a:rPr lang="en-US" sz="1600" dirty="0">
                <a:latin typeface="+mj-lt"/>
                <a:ea typeface="Open Sans" panose="020B0606030504020204" pitchFamily="34" charset="0"/>
                <a:cs typeface="Open Sans" panose="020B0606030504020204" pitchFamily="34" charset="0"/>
              </a:rPr>
              <a:t>After that data were transformed using </a:t>
            </a:r>
            <a:r>
              <a:rPr lang="en-US" sz="1600" dirty="0" err="1">
                <a:latin typeface="+mj-lt"/>
                <a:ea typeface="Open Sans" panose="020B0606030504020204" pitchFamily="34" charset="0"/>
                <a:cs typeface="Open Sans" panose="020B0606030504020204" pitchFamily="34" charset="0"/>
              </a:rPr>
              <a:t>minmaxscaler</a:t>
            </a:r>
            <a:r>
              <a:rPr lang="en-US" sz="1600" dirty="0">
                <a:latin typeface="+mj-lt"/>
                <a:ea typeface="Open Sans" panose="020B0606030504020204" pitchFamily="34" charset="0"/>
                <a:cs typeface="Open Sans" panose="020B0606030504020204" pitchFamily="34" charset="0"/>
              </a:rPr>
              <a:t>().</a:t>
            </a:r>
          </a:p>
          <a:p>
            <a:r>
              <a:rPr lang="en-US" sz="1600" b="1" dirty="0">
                <a:ea typeface="Open Sans" panose="020B0606030504020204" pitchFamily="34" charset="0"/>
                <a:cs typeface="Open Sans" panose="020B0606030504020204" pitchFamily="34" charset="0"/>
              </a:rPr>
              <a:t>Model Development</a:t>
            </a:r>
          </a:p>
          <a:p>
            <a:r>
              <a:rPr lang="en-US" sz="1600" dirty="0">
                <a:ea typeface="Open Sans" panose="020B0606030504020204" pitchFamily="34" charset="0"/>
                <a:cs typeface="Open Sans" panose="020B0606030504020204" pitchFamily="34" charset="0"/>
              </a:rPr>
              <a:t>The data was split into test and training and an LSTM RNN architecture was used to develop the model. The model was evaluated using accuracy and confusion matrix</a:t>
            </a:r>
            <a:endParaRPr lang="en-US" sz="1600" dirty="0">
              <a:latin typeface="+mj-lt"/>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7469FF81-4D6D-4FDB-8096-F600CD0CD94C}"/>
              </a:ext>
            </a:extLst>
          </p:cNvPr>
          <p:cNvPicPr>
            <a:picLocks noChangeAspect="1"/>
          </p:cNvPicPr>
          <p:nvPr/>
        </p:nvPicPr>
        <p:blipFill>
          <a:blip r:embed="rId3"/>
          <a:stretch>
            <a:fillRect/>
          </a:stretch>
        </p:blipFill>
        <p:spPr>
          <a:xfrm>
            <a:off x="6613005" y="3617629"/>
            <a:ext cx="5187409" cy="425197"/>
          </a:xfrm>
          <a:prstGeom prst="rect">
            <a:avLst/>
          </a:prstGeom>
        </p:spPr>
      </p:pic>
      <p:pic>
        <p:nvPicPr>
          <p:cNvPr id="5" name="Picture 4">
            <a:extLst>
              <a:ext uri="{FF2B5EF4-FFF2-40B4-BE49-F238E27FC236}">
                <a16:creationId xmlns:a16="http://schemas.microsoft.com/office/drawing/2014/main" id="{DA20D228-EA52-49DE-96F7-D134BCDA3455}"/>
              </a:ext>
            </a:extLst>
          </p:cNvPr>
          <p:cNvPicPr>
            <a:picLocks noChangeAspect="1"/>
          </p:cNvPicPr>
          <p:nvPr/>
        </p:nvPicPr>
        <p:blipFill>
          <a:blip r:embed="rId4"/>
          <a:stretch>
            <a:fillRect/>
          </a:stretch>
        </p:blipFill>
        <p:spPr>
          <a:xfrm>
            <a:off x="6359285" y="5445527"/>
            <a:ext cx="3893112" cy="423686"/>
          </a:xfrm>
          <a:prstGeom prst="rect">
            <a:avLst/>
          </a:prstGeom>
        </p:spPr>
      </p:pic>
      <p:pic>
        <p:nvPicPr>
          <p:cNvPr id="6" name="Picture 5">
            <a:extLst>
              <a:ext uri="{FF2B5EF4-FFF2-40B4-BE49-F238E27FC236}">
                <a16:creationId xmlns:a16="http://schemas.microsoft.com/office/drawing/2014/main" id="{B8A778FD-13C5-4A0A-846E-54E0E895C445}"/>
              </a:ext>
            </a:extLst>
          </p:cNvPr>
          <p:cNvPicPr>
            <a:picLocks noChangeAspect="1"/>
          </p:cNvPicPr>
          <p:nvPr/>
        </p:nvPicPr>
        <p:blipFill>
          <a:blip r:embed="rId5"/>
          <a:stretch>
            <a:fillRect/>
          </a:stretch>
        </p:blipFill>
        <p:spPr>
          <a:xfrm>
            <a:off x="6413355" y="5925335"/>
            <a:ext cx="3724275" cy="771525"/>
          </a:xfrm>
          <a:prstGeom prst="rect">
            <a:avLst/>
          </a:prstGeom>
        </p:spPr>
      </p:pic>
      <p:pic>
        <p:nvPicPr>
          <p:cNvPr id="19" name="Picture Placeholder 18" descr="A picture containing outdoor, man, standing, engine&#10;&#10;Description automatically generated">
            <a:extLst>
              <a:ext uri="{FF2B5EF4-FFF2-40B4-BE49-F238E27FC236}">
                <a16:creationId xmlns:a16="http://schemas.microsoft.com/office/drawing/2014/main" id="{88CAA1DD-7363-425C-9496-703B81603F5E}"/>
              </a:ext>
            </a:extLst>
          </p:cNvPr>
          <p:cNvPicPr>
            <a:picLocks noGrp="1" noChangeAspect="1"/>
          </p:cNvPicPr>
          <p:nvPr>
            <p:ph type="pic" sz="quarter" idx="13"/>
          </p:nvPr>
        </p:nvPicPr>
        <p:blipFill>
          <a:blip r:embed="rId6"/>
          <a:srcRect l="25000" r="25000"/>
          <a:stretch>
            <a:fillRect/>
          </a:stretch>
        </p:blipFill>
        <p:spPr/>
      </p:pic>
    </p:spTree>
    <p:extLst>
      <p:ext uri="{BB962C8B-B14F-4D97-AF65-F5344CB8AC3E}">
        <p14:creationId xmlns:p14="http://schemas.microsoft.com/office/powerpoint/2010/main" val="3288830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9" name="Rounded Rectangle 11">
            <a:extLst>
              <a:ext uri="{FF2B5EF4-FFF2-40B4-BE49-F238E27FC236}">
                <a16:creationId xmlns:a16="http://schemas.microsoft.com/office/drawing/2014/main" id="{0596A713-7779-4312-9549-A36294D5D872}"/>
              </a:ext>
            </a:extLst>
          </p:cNvPr>
          <p:cNvSpPr/>
          <p:nvPr/>
        </p:nvSpPr>
        <p:spPr>
          <a:xfrm>
            <a:off x="10195505" y="6547461"/>
            <a:ext cx="1604909" cy="223331"/>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ounded Rectangle 82">
            <a:extLst>
              <a:ext uri="{FF2B5EF4-FFF2-40B4-BE49-F238E27FC236}">
                <a16:creationId xmlns:a16="http://schemas.microsoft.com/office/drawing/2014/main" id="{F31C0596-B0E4-4D56-AF97-A02D9407AEDD}"/>
              </a:ext>
            </a:extLst>
          </p:cNvPr>
          <p:cNvSpPr/>
          <p:nvPr/>
        </p:nvSpPr>
        <p:spPr>
          <a:xfrm>
            <a:off x="11532603" y="6547461"/>
            <a:ext cx="569026" cy="223331"/>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Slide Number Placeholder 24">
            <a:extLst>
              <a:ext uri="{FF2B5EF4-FFF2-40B4-BE49-F238E27FC236}">
                <a16:creationId xmlns:a16="http://schemas.microsoft.com/office/drawing/2014/main" id="{9018FB15-C9B2-4FD8-AA44-C3EDA8A7E570}"/>
              </a:ext>
            </a:extLst>
          </p:cNvPr>
          <p:cNvSpPr>
            <a:spLocks noGrp="1"/>
          </p:cNvSpPr>
          <p:nvPr>
            <p:ph type="sldNum" sz="quarter" idx="12"/>
          </p:nvPr>
        </p:nvSpPr>
        <p:spPr>
          <a:xfrm>
            <a:off x="11573685" y="6476563"/>
            <a:ext cx="486861" cy="365125"/>
          </a:xfrm>
        </p:spPr>
        <p:txBody>
          <a:bodyPr/>
          <a:lstStyle/>
          <a:p>
            <a:fld id="{3BA69586-E6B3-B646-96E5-E7A8350A3CCE}" type="slidenum">
              <a:rPr lang="en-US" smtClean="0">
                <a:solidFill>
                  <a:srgbClr val="FFFFFF"/>
                </a:solidFill>
              </a:rPr>
              <a:pPr/>
              <a:t>5</a:t>
            </a:fld>
            <a:endParaRPr lang="en-US" dirty="0">
              <a:solidFill>
                <a:srgbClr val="FFFFFF"/>
              </a:solidFill>
            </a:endParaRPr>
          </a:p>
        </p:txBody>
      </p:sp>
      <p:sp>
        <p:nvSpPr>
          <p:cNvPr id="32" name="TextBox 31">
            <a:extLst>
              <a:ext uri="{FF2B5EF4-FFF2-40B4-BE49-F238E27FC236}">
                <a16:creationId xmlns:a16="http://schemas.microsoft.com/office/drawing/2014/main" id="{727D1944-9F0C-4C05-829F-B0EF25E91151}"/>
              </a:ext>
            </a:extLst>
          </p:cNvPr>
          <p:cNvSpPr txBox="1"/>
          <p:nvPr/>
        </p:nvSpPr>
        <p:spPr>
          <a:xfrm>
            <a:off x="10252396" y="6536016"/>
            <a:ext cx="1289135" cy="230832"/>
          </a:xfrm>
          <a:prstGeom prst="rect">
            <a:avLst/>
          </a:prstGeom>
          <a:noFill/>
        </p:spPr>
        <p:txBody>
          <a:bodyPr wrap="none" rtlCol="0">
            <a:spAutoFit/>
          </a:bodyPr>
          <a:lstStyle/>
          <a:p>
            <a:pPr algn="ctr"/>
            <a:r>
              <a:rPr lang="en-US" sz="900" dirty="0">
                <a:solidFill>
                  <a:srgbClr val="FFFFFF"/>
                </a:solidFill>
                <a:latin typeface="+mj-lt"/>
                <a:ea typeface="Open Sans" panose="020B0606030504020204" pitchFamily="34" charset="0"/>
                <a:cs typeface="Open Sans" panose="020B0606030504020204" pitchFamily="34" charset="0"/>
              </a:rPr>
              <a:t>Predictive Maintenance</a:t>
            </a:r>
          </a:p>
        </p:txBody>
      </p:sp>
      <p:sp>
        <p:nvSpPr>
          <p:cNvPr id="18" name="TextBox 17">
            <a:extLst>
              <a:ext uri="{FF2B5EF4-FFF2-40B4-BE49-F238E27FC236}">
                <a16:creationId xmlns:a16="http://schemas.microsoft.com/office/drawing/2014/main" id="{70B5F2CF-3C49-4FF5-BA24-0E28D79AE69B}"/>
              </a:ext>
            </a:extLst>
          </p:cNvPr>
          <p:cNvSpPr txBox="1"/>
          <p:nvPr/>
        </p:nvSpPr>
        <p:spPr>
          <a:xfrm flipH="1">
            <a:off x="6344698" y="113153"/>
            <a:ext cx="5756930" cy="5509200"/>
          </a:xfrm>
          <a:prstGeom prst="rect">
            <a:avLst/>
          </a:prstGeom>
          <a:noFill/>
        </p:spPr>
        <p:txBody>
          <a:bodyPr wrap="square" rtlCol="0">
            <a:spAutoFit/>
          </a:bodyPr>
          <a:lstStyle/>
          <a:p>
            <a:r>
              <a:rPr lang="en-CA" sz="1600" b="1" dirty="0">
                <a:latin typeface="+mj-lt"/>
                <a:ea typeface="Open Sans" panose="020B0606030504020204" pitchFamily="34" charset="0"/>
                <a:cs typeface="Open Sans" panose="020B0606030504020204" pitchFamily="34" charset="0"/>
              </a:rPr>
              <a:t>Rule Based Expert System</a:t>
            </a:r>
          </a:p>
          <a:p>
            <a:r>
              <a:rPr lang="en-US" sz="1600" dirty="0">
                <a:latin typeface="+mj-lt"/>
                <a:ea typeface="Open Sans" panose="020B0606030504020204" pitchFamily="34" charset="0"/>
                <a:cs typeface="Open Sans" panose="020B0606030504020204" pitchFamily="34" charset="0"/>
              </a:rPr>
              <a:t>After that the rules were created for the scheduling system and stored in the database. The following list the main rules were used:</a:t>
            </a:r>
          </a:p>
          <a:p>
            <a:pPr marL="285750" indent="-285750">
              <a:buFont typeface="Arial" panose="020B0604020202020204" pitchFamily="34" charset="0"/>
              <a:buChar char="•"/>
            </a:pPr>
            <a:r>
              <a:rPr lang="en-US" sz="1600" dirty="0">
                <a:latin typeface="+mj-lt"/>
                <a:ea typeface="Open Sans" panose="020B0606030504020204" pitchFamily="34" charset="0"/>
                <a:cs typeface="Open Sans" panose="020B0606030504020204" pitchFamily="34" charset="0"/>
              </a:rPr>
              <a:t>If the machine failure probabilities is between 0 and 40%, The action is “</a:t>
            </a:r>
            <a:r>
              <a:rPr lang="en-US" sz="1600" b="1" dirty="0">
                <a:latin typeface="+mj-lt"/>
                <a:ea typeface="Open Sans" panose="020B0606030504020204" pitchFamily="34" charset="0"/>
                <a:cs typeface="Open Sans" panose="020B0606030504020204" pitchFamily="34" charset="0"/>
              </a:rPr>
              <a:t>no action is required”</a:t>
            </a:r>
            <a:r>
              <a:rPr lang="en-US" sz="1600" dirty="0">
                <a:latin typeface="+mj-lt"/>
                <a:ea typeface="Open Sans" panose="020B0606030504020204" pitchFamily="34" charset="0"/>
                <a:cs typeface="Open Sans" panose="020B0606030504020204" pitchFamily="34" charset="0"/>
              </a:rPr>
              <a:t>;</a:t>
            </a:r>
          </a:p>
          <a:p>
            <a:pPr marL="285750" indent="-285750">
              <a:buFont typeface="Arial" panose="020B0604020202020204" pitchFamily="34" charset="0"/>
              <a:buChar char="•"/>
            </a:pPr>
            <a:endParaRPr lang="en-US" sz="1600" dirty="0">
              <a:latin typeface="+mj-lt"/>
              <a:ea typeface="Open Sans" panose="020B0606030504020204" pitchFamily="34" charset="0"/>
              <a:cs typeface="Open Sans" panose="020B0606030504020204" pitchFamily="34" charset="0"/>
            </a:endParaRPr>
          </a:p>
          <a:p>
            <a:pPr marL="285750" indent="-285750">
              <a:buFont typeface="Arial" panose="020B0604020202020204" pitchFamily="34" charset="0"/>
              <a:buChar char="•"/>
            </a:pPr>
            <a:r>
              <a:rPr lang="en-US" sz="1600" dirty="0">
                <a:ea typeface="Open Sans" panose="020B0606030504020204" pitchFamily="34" charset="0"/>
                <a:cs typeface="Open Sans" panose="020B0606030504020204" pitchFamily="34" charset="0"/>
              </a:rPr>
              <a:t>If the machine failure probabilities is between 40% and 50%, The action is “</a:t>
            </a:r>
            <a:r>
              <a:rPr lang="en-US" sz="1600" b="1" dirty="0">
                <a:ea typeface="Open Sans" panose="020B0606030504020204" pitchFamily="34" charset="0"/>
                <a:cs typeface="Open Sans" panose="020B0606030504020204" pitchFamily="34" charset="0"/>
              </a:rPr>
              <a:t>Send a team to analyze machine and predict maintenance requirements”</a:t>
            </a:r>
          </a:p>
          <a:p>
            <a:pPr marL="285750" indent="-285750">
              <a:buFont typeface="Arial" panose="020B0604020202020204" pitchFamily="34" charset="0"/>
              <a:buChar char="•"/>
            </a:pPr>
            <a:endParaRPr lang="en-US" sz="1600" b="1" dirty="0">
              <a:ea typeface="Open Sans" panose="020B0606030504020204" pitchFamily="34" charset="0"/>
              <a:cs typeface="Open Sans" panose="020B0606030504020204" pitchFamily="34" charset="0"/>
            </a:endParaRPr>
          </a:p>
          <a:p>
            <a:pPr marL="285750" indent="-285750">
              <a:buFont typeface="Arial" panose="020B0604020202020204" pitchFamily="34" charset="0"/>
              <a:buChar char="•"/>
            </a:pPr>
            <a:r>
              <a:rPr lang="en-US" sz="1600" dirty="0">
                <a:ea typeface="Open Sans" panose="020B0606030504020204" pitchFamily="34" charset="0"/>
                <a:cs typeface="Open Sans" panose="020B0606030504020204" pitchFamily="34" charset="0"/>
              </a:rPr>
              <a:t>If the machine failure probabilities is between 50% and 60%, The action is “</a:t>
            </a:r>
            <a:r>
              <a:rPr lang="en-US" sz="1600" b="1" dirty="0">
                <a:ea typeface="Open Sans" panose="020B0606030504020204" pitchFamily="34" charset="0"/>
                <a:cs typeface="Open Sans" panose="020B0606030504020204" pitchFamily="34" charset="0"/>
              </a:rPr>
              <a:t>Create work order and prepare for maintenance request”</a:t>
            </a:r>
          </a:p>
          <a:p>
            <a:pPr marL="285750" indent="-285750">
              <a:buFont typeface="Arial" panose="020B0604020202020204" pitchFamily="34" charset="0"/>
              <a:buChar char="•"/>
            </a:pPr>
            <a:endParaRPr lang="en-US" sz="1600" b="1" dirty="0">
              <a:ea typeface="Open Sans" panose="020B0606030504020204" pitchFamily="34" charset="0"/>
              <a:cs typeface="Open Sans" panose="020B0606030504020204" pitchFamily="34" charset="0"/>
            </a:endParaRPr>
          </a:p>
          <a:p>
            <a:pPr marL="285750" indent="-285750">
              <a:buFont typeface="Arial" panose="020B0604020202020204" pitchFamily="34" charset="0"/>
              <a:buChar char="•"/>
            </a:pPr>
            <a:r>
              <a:rPr lang="en-US" sz="1600" dirty="0">
                <a:ea typeface="Open Sans" panose="020B0606030504020204" pitchFamily="34" charset="0"/>
                <a:cs typeface="Open Sans" panose="020B0606030504020204" pitchFamily="34" charset="0"/>
              </a:rPr>
              <a:t>If the machine failure probabilities is between 60% and 80%, The action is “</a:t>
            </a:r>
            <a:r>
              <a:rPr lang="en-US" sz="1600" b="1" dirty="0">
                <a:ea typeface="Open Sans" panose="020B0606030504020204" pitchFamily="34" charset="0"/>
                <a:cs typeface="Open Sans" panose="020B0606030504020204" pitchFamily="34" charset="0"/>
              </a:rPr>
              <a:t>Schedule and dispatch work and resources”</a:t>
            </a:r>
          </a:p>
          <a:p>
            <a:pPr marL="285750" indent="-285750">
              <a:buFont typeface="Arial" panose="020B0604020202020204" pitchFamily="34" charset="0"/>
              <a:buChar char="•"/>
            </a:pPr>
            <a:endParaRPr lang="en-US" sz="1600" b="1" dirty="0">
              <a:ea typeface="Open Sans" panose="020B0606030504020204" pitchFamily="34" charset="0"/>
              <a:cs typeface="Open Sans" panose="020B0606030504020204" pitchFamily="34" charset="0"/>
            </a:endParaRPr>
          </a:p>
          <a:p>
            <a:pPr marL="285750" indent="-285750">
              <a:buFont typeface="Arial" panose="020B0604020202020204" pitchFamily="34" charset="0"/>
              <a:buChar char="•"/>
            </a:pPr>
            <a:r>
              <a:rPr lang="en-US" sz="1600" dirty="0">
                <a:ea typeface="Open Sans" panose="020B0606030504020204" pitchFamily="34" charset="0"/>
                <a:cs typeface="Open Sans" panose="020B0606030504020204" pitchFamily="34" charset="0"/>
              </a:rPr>
              <a:t>If the machine failure probabilities is between 80% and 100%, The action is “</a:t>
            </a:r>
            <a:r>
              <a:rPr lang="en-US" sz="1600" b="1" dirty="0">
                <a:ea typeface="Open Sans" panose="020B0606030504020204" pitchFamily="34" charset="0"/>
                <a:cs typeface="Open Sans" panose="020B0606030504020204" pitchFamily="34" charset="0"/>
              </a:rPr>
              <a:t>Execute maintenance”</a:t>
            </a:r>
          </a:p>
          <a:p>
            <a:pPr marL="285750" indent="-285750">
              <a:buFont typeface="Arial" panose="020B0604020202020204" pitchFamily="34" charset="0"/>
              <a:buChar char="•"/>
            </a:pPr>
            <a:endParaRPr lang="en-US" sz="1600" b="1" dirty="0">
              <a:ea typeface="Open Sans" panose="020B0606030504020204" pitchFamily="34" charset="0"/>
              <a:cs typeface="Open Sans" panose="020B0606030504020204" pitchFamily="34" charset="0"/>
            </a:endParaRPr>
          </a:p>
          <a:p>
            <a:pPr marL="285750" indent="-285750">
              <a:buFont typeface="Arial" panose="020B0604020202020204" pitchFamily="34" charset="0"/>
              <a:buChar char="•"/>
            </a:pPr>
            <a:endParaRPr lang="en-US" sz="1600" b="1" dirty="0">
              <a:ea typeface="Open Sans" panose="020B0606030504020204" pitchFamily="34" charset="0"/>
              <a:cs typeface="Open Sans" panose="020B0606030504020204" pitchFamily="34" charset="0"/>
            </a:endParaRPr>
          </a:p>
          <a:p>
            <a:pPr marL="285750" indent="-285750">
              <a:buFont typeface="Arial" panose="020B0604020202020204" pitchFamily="34" charset="0"/>
              <a:buChar char="•"/>
            </a:pPr>
            <a:endParaRPr lang="en-US" sz="1600" dirty="0">
              <a:latin typeface="+mj-lt"/>
              <a:ea typeface="Open Sans" panose="020B0606030504020204" pitchFamily="34" charset="0"/>
              <a:cs typeface="Open Sans" panose="020B0606030504020204" pitchFamily="34" charset="0"/>
            </a:endParaRPr>
          </a:p>
        </p:txBody>
      </p:sp>
      <p:sp>
        <p:nvSpPr>
          <p:cNvPr id="17" name="Oval 16">
            <a:extLst>
              <a:ext uri="{FF2B5EF4-FFF2-40B4-BE49-F238E27FC236}">
                <a16:creationId xmlns:a16="http://schemas.microsoft.com/office/drawing/2014/main" id="{911932D2-B133-4488-A89C-DDF0701ACD00}"/>
              </a:ext>
            </a:extLst>
          </p:cNvPr>
          <p:cNvSpPr/>
          <p:nvPr/>
        </p:nvSpPr>
        <p:spPr>
          <a:xfrm>
            <a:off x="6368718" y="880061"/>
            <a:ext cx="252000" cy="252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b="1" dirty="0"/>
              <a:t>1</a:t>
            </a:r>
          </a:p>
        </p:txBody>
      </p:sp>
      <p:sp>
        <p:nvSpPr>
          <p:cNvPr id="19" name="Oval 18">
            <a:extLst>
              <a:ext uri="{FF2B5EF4-FFF2-40B4-BE49-F238E27FC236}">
                <a16:creationId xmlns:a16="http://schemas.microsoft.com/office/drawing/2014/main" id="{B86717BA-1B0B-4EB0-B2F2-95D26037F63E}"/>
              </a:ext>
            </a:extLst>
          </p:cNvPr>
          <p:cNvSpPr/>
          <p:nvPr/>
        </p:nvSpPr>
        <p:spPr>
          <a:xfrm>
            <a:off x="6368718" y="1646969"/>
            <a:ext cx="252000" cy="252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b="1" dirty="0"/>
              <a:t>2</a:t>
            </a:r>
          </a:p>
        </p:txBody>
      </p:sp>
      <p:sp>
        <p:nvSpPr>
          <p:cNvPr id="20" name="Oval 19">
            <a:extLst>
              <a:ext uri="{FF2B5EF4-FFF2-40B4-BE49-F238E27FC236}">
                <a16:creationId xmlns:a16="http://schemas.microsoft.com/office/drawing/2014/main" id="{3C35B468-29B8-478A-A91F-EC651A34AE0A}"/>
              </a:ext>
            </a:extLst>
          </p:cNvPr>
          <p:cNvSpPr/>
          <p:nvPr/>
        </p:nvSpPr>
        <p:spPr>
          <a:xfrm>
            <a:off x="6368718" y="2574130"/>
            <a:ext cx="252000" cy="252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b="1" dirty="0"/>
              <a:t>3</a:t>
            </a:r>
          </a:p>
        </p:txBody>
      </p:sp>
      <p:sp>
        <p:nvSpPr>
          <p:cNvPr id="21" name="Oval 20">
            <a:extLst>
              <a:ext uri="{FF2B5EF4-FFF2-40B4-BE49-F238E27FC236}">
                <a16:creationId xmlns:a16="http://schemas.microsoft.com/office/drawing/2014/main" id="{6CA124A1-28A3-41C0-AF6F-3397339AD9A1}"/>
              </a:ext>
            </a:extLst>
          </p:cNvPr>
          <p:cNvSpPr/>
          <p:nvPr/>
        </p:nvSpPr>
        <p:spPr>
          <a:xfrm>
            <a:off x="6368718" y="3561682"/>
            <a:ext cx="252000" cy="252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b="1" dirty="0"/>
              <a:t>4</a:t>
            </a:r>
          </a:p>
        </p:txBody>
      </p:sp>
      <p:sp>
        <p:nvSpPr>
          <p:cNvPr id="22" name="Oval 21">
            <a:extLst>
              <a:ext uri="{FF2B5EF4-FFF2-40B4-BE49-F238E27FC236}">
                <a16:creationId xmlns:a16="http://schemas.microsoft.com/office/drawing/2014/main" id="{22C95B72-70C9-461C-A793-82448FF13E52}"/>
              </a:ext>
            </a:extLst>
          </p:cNvPr>
          <p:cNvSpPr/>
          <p:nvPr/>
        </p:nvSpPr>
        <p:spPr>
          <a:xfrm>
            <a:off x="6368718" y="4238338"/>
            <a:ext cx="252000" cy="252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b="1" dirty="0"/>
              <a:t>5</a:t>
            </a:r>
          </a:p>
        </p:txBody>
      </p:sp>
      <p:pic>
        <p:nvPicPr>
          <p:cNvPr id="23" name="Picture Placeholder 22" descr="A close up of an engine&#10;&#10;Description automatically generated">
            <a:extLst>
              <a:ext uri="{FF2B5EF4-FFF2-40B4-BE49-F238E27FC236}">
                <a16:creationId xmlns:a16="http://schemas.microsoft.com/office/drawing/2014/main" id="{1209539F-234D-4EBE-84DB-C126289E2EF0}"/>
              </a:ext>
            </a:extLst>
          </p:cNvPr>
          <p:cNvPicPr>
            <a:picLocks noGrp="1" noChangeAspect="1"/>
          </p:cNvPicPr>
          <p:nvPr>
            <p:ph type="pic" sz="quarter" idx="13"/>
          </p:nvPr>
        </p:nvPicPr>
        <p:blipFill>
          <a:blip r:embed="rId2"/>
          <a:srcRect l="20356" r="20356"/>
          <a:stretch>
            <a:fillRect/>
          </a:stretch>
        </p:blipFill>
        <p:spPr>
          <a:xfrm>
            <a:off x="12700" y="-15875"/>
            <a:ext cx="6096000" cy="6858000"/>
          </a:xfrm>
        </p:spPr>
      </p:pic>
    </p:spTree>
    <p:extLst>
      <p:ext uri="{BB962C8B-B14F-4D97-AF65-F5344CB8AC3E}">
        <p14:creationId xmlns:p14="http://schemas.microsoft.com/office/powerpoint/2010/main" val="1724084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POWER_USER_TAGS_ICONS" val="line chart*graph*statistics*data*figures*numbers*analytics*analysis*dashboard*trends*steering*big data*growth*increase*surge"/>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database*wireframes*mockup"/>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pie chart*graph*statistics*data*figures*numbers*analytics*analysis*dashboard*"/>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area chart*graph*statistics*data*figures*numbers*analytics*analysis*dashboard"/>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digitized_POWER_USER_SEPARATOR_ICONS_computer_POWER_USER_SEPARATOR_ICONS_data_POWER_USER_SEPARATOR_ICONS_digital_POWER_USER_SEPARATOR_ICONS_digitized-object_POWER_USER_SEPARATOR_ICONS_file_POWER_USER_SEPARATOR_ICONS_graph_POWER_USER_SEPARATOR_ICONS_technology"/>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digitized_POWER_USER_SEPARATOR_ICONS_computer_POWER_USER_SEPARATOR_ICONS_data_POWER_USER_SEPARATOR_ICONS_digital_POWER_USER_SEPARATOR_ICONS_digitized-object_POWER_USER_SEPARATOR_ICONS_file_POWER_USER_SEPARATOR_ICONS_graph_POWER_USER_SEPARATOR_ICONS_technology"/>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digitized_POWER_USER_SEPARATOR_ICONS_computer_POWER_USER_SEPARATOR_ICONS_data_POWER_USER_SEPARATOR_ICONS_digital_POWER_USER_SEPARATOR_ICONS_digitized-object_POWER_USER_SEPARATOR_ICONS_file_POWER_USER_SEPARATOR_ICONS_graph_POWER_USER_SEPARATOR_ICONS_technology"/>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
</p:tagLst>
</file>

<file path=ppt/theme/theme1.xml><?xml version="1.0" encoding="utf-8"?>
<a:theme xmlns:a="http://schemas.openxmlformats.org/drawingml/2006/main" name="Office Theme">
  <a:themeElements>
    <a:clrScheme name="Marketing Plan 12">
      <a:dk1>
        <a:srgbClr val="181717"/>
      </a:dk1>
      <a:lt1>
        <a:srgbClr val="FFFFFF"/>
      </a:lt1>
      <a:dk2>
        <a:srgbClr val="181717"/>
      </a:dk2>
      <a:lt2>
        <a:srgbClr val="FFFFFF"/>
      </a:lt2>
      <a:accent1>
        <a:srgbClr val="137781"/>
      </a:accent1>
      <a:accent2>
        <a:srgbClr val="009F88"/>
      </a:accent2>
      <a:accent3>
        <a:srgbClr val="00BF84"/>
      </a:accent3>
      <a:accent4>
        <a:srgbClr val="00D177"/>
      </a:accent4>
      <a:accent5>
        <a:srgbClr val="00D55B"/>
      </a:accent5>
      <a:accent6>
        <a:srgbClr val="1FB94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23</TotalTime>
  <Words>527</Words>
  <Application>Microsoft Office PowerPoint</Application>
  <PresentationFormat>Widescreen</PresentationFormat>
  <Paragraphs>84</Paragraphs>
  <Slides>5</Slides>
  <Notes>0</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5</vt:i4>
      </vt:variant>
    </vt:vector>
  </HeadingPairs>
  <TitlesOfParts>
    <vt:vector size="10" baseType="lpstr">
      <vt:lpstr>Arial</vt:lpstr>
      <vt:lpstr>Calibri</vt:lpstr>
      <vt:lpstr>Arial Narrow</vt:lpstr>
      <vt:lpstr>Calibri Light</vt:lpstr>
      <vt:lpstr>Office Theme</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ruthvi Ingole</dc:creator>
  <cp:lastModifiedBy>Ahmad Barakat</cp:lastModifiedBy>
  <cp:revision>31</cp:revision>
  <dcterms:created xsi:type="dcterms:W3CDTF">2020-03-30T02:06:00Z</dcterms:created>
  <dcterms:modified xsi:type="dcterms:W3CDTF">2020-04-15T19:12:29Z</dcterms:modified>
</cp:coreProperties>
</file>